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9" r:id="rId4"/>
    <p:sldMasterId id="2147483978" r:id="rId5"/>
    <p:sldMasterId id="2147484009" r:id="rId6"/>
    <p:sldMasterId id="2147484038" r:id="rId7"/>
  </p:sldMasterIdLst>
  <p:notesMasterIdLst>
    <p:notesMasterId r:id="rId19"/>
  </p:notesMasterIdLst>
  <p:handoutMasterIdLst>
    <p:handoutMasterId r:id="rId20"/>
  </p:handoutMasterIdLst>
  <p:sldIdLst>
    <p:sldId id="366" r:id="rId8"/>
    <p:sldId id="2145707548" r:id="rId9"/>
    <p:sldId id="2147476112" r:id="rId10"/>
    <p:sldId id="2147476066" r:id="rId11"/>
    <p:sldId id="2147476115" r:id="rId12"/>
    <p:sldId id="2147476097" r:id="rId13"/>
    <p:sldId id="2147476116" r:id="rId14"/>
    <p:sldId id="2147476104" r:id="rId15"/>
    <p:sldId id="2147476119" r:id="rId16"/>
    <p:sldId id="2147476111" r:id="rId17"/>
    <p:sldId id="2147476056" r:id="rId18"/>
  </p:sldIdLst>
  <p:sldSz cx="12192000" cy="6858000"/>
  <p:notesSz cx="6858000" cy="9144000"/>
  <p:custDataLst>
    <p:tags r:id="rId2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Abertura" id="{964CF7AE-A22C-4F6B-A4AD-A67C7FB54937}">
          <p14:sldIdLst>
            <p14:sldId id="366"/>
          </p14:sldIdLst>
        </p14:section>
        <p14:section name="Cultura 360" id="{F1072E4E-DDEB-47B1-9025-B8206BC6D954}">
          <p14:sldIdLst>
            <p14:sldId id="2145707548"/>
          </p14:sldIdLst>
        </p14:section>
        <p14:section name="Agenda" id="{D4C17DFB-5D47-4E6A-961C-F02E9586A911}">
          <p14:sldIdLst>
            <p14:sldId id="2147476112"/>
            <p14:sldId id="2147476066"/>
            <p14:sldId id="2147476115"/>
            <p14:sldId id="2147476097"/>
            <p14:sldId id="2147476116"/>
            <p14:sldId id="2147476104"/>
            <p14:sldId id="2147476119"/>
            <p14:sldId id="2147476111"/>
            <p14:sldId id="2147476056"/>
          </p14:sldIdLst>
        </p14:section>
        <p14:section name="Seção sem Título" id="{FFA1A95A-9238-4AF2-9FFD-2B5A755D322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23" roundtripDataSignature="AMtx7mjboUX23JKyGu8cG+cCGBhk/OPlig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D2B5C5F-3A43-53EF-37EC-94AFC2354791}" name="Paula Silva Ramos" initials="PR" userId="S::paula.ramos@auraminerals.com::e818b6e3-45cd-45a0-8c70-bdea56885cd0" providerId="AD"/>
  <p188:author id="{CB4E93E3-1001-6F31-F746-3B281B48CA0D}" name="Vinicius Campos Da Silva" initials="VC" userId="S::vinicius.silva@auraminerals.com::7b851eff-a574-40c8-9b4a-ba2b88e8ae0f" providerId="AD"/>
  <p188:author id="{DC12E2FE-A28D-9C1A-A1B3-F21A11CF541A}" name="Saymon Ricardo de OIiveira Sousa" initials="SS" userId="S::saymon.sousa@auraminerals.com::4bccc1a5-7418-4eb1-b967-6ce5f0b0fd7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614D"/>
    <a:srgbClr val="2D3D70"/>
    <a:srgbClr val="F3F5FA"/>
    <a:srgbClr val="CCD1DF"/>
    <a:srgbClr val="F3D8D8"/>
    <a:srgbClr val="E6E9EF"/>
    <a:srgbClr val="B0B7C1"/>
    <a:srgbClr val="11534F"/>
    <a:srgbClr val="7F7F7F"/>
    <a:srgbClr val="4C6C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B3FBDF-3BFA-4535-B8D5-FEDA98124A84}" v="24" dt="2025-10-01T16:45:42.9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6" d="100"/>
          <a:sy n="76" d="100"/>
        </p:scale>
        <p:origin x="427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12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124" Type="http://schemas.openxmlformats.org/officeDocument/2006/relationships/presProps" Target="presProps.xml"/><Relationship Id="rId129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123" Type="http://customschemas.google.com/relationships/presentationmetadata" Target="metadata"/><Relationship Id="rId12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127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126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2572FE05-4A93-C867-2E96-D13379903C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9F9A6F7-B8FE-CC60-68C0-D13BA8CBC34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180962-7FAF-44B1-96D5-CFACA975D2D3}" type="datetimeFigureOut">
              <a:rPr lang="pt-BR" smtClean="0"/>
              <a:t>16/05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45DD607-4924-9765-F76B-587DB2DEC8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41B6703-8AF6-3974-7F93-E83526100A7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9EDFA6-2C49-4916-881D-6828571E7E3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743561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150783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096631-041A-0CBF-CC65-7EE596680B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949D3D31-C41A-EA17-3A83-DAF92C8C71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4E58786-98E6-6E5E-95F3-B1E7943FAB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B206CB9-904E-D91E-76A7-DFDE2B29E86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36438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E2559D-3E09-4478-9315-35B110E0B582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488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5C7219-574C-925B-15FC-482DFA0242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52CD974D-09E7-3C9A-B4AB-F56CF05584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BF531D38-5BBD-80EE-C18F-3FAA50E935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CB4A172-916E-C312-92C9-F83345735FE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1921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9C311-10FE-7CB7-900F-C86ABCDB54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30F38BF7-8797-8C43-663F-561838D821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4949C9A2-F764-170C-5C69-A6E9E51743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9E19803-0183-9DB5-1489-7C41173C150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09385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C7384C-105A-4E93-A8BB-BD04DE010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96B761E0-1AE0-D98B-C8F5-77FFFCB2A1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8FE30468-7E06-FD05-0A8A-5BEC26E8C0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B6E649F-9D6E-F130-7722-86BAE0764C4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65762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DDAF4-EFA7-1ABC-AB57-7546BE4D8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C4EF1E7E-8FC8-9FC0-7E6A-B4B4E526BC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6353D4AA-8E5E-0971-ECE2-421FDB079B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1E71669-7CE2-C9DB-C420-4DA319C8224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980826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E5B21E-719F-EEAC-D77E-20E59FDF32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DF6A29A-5186-2F63-AE5E-F771E8D035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8845CE8-318E-0409-F057-544B840B73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48663A-8C42-3768-3FFB-C19C320C814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901137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E4632B-E82C-8CCE-F2CF-7E4CC4FA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0B631E2E-0B21-F185-72BB-E73A6B6ACD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C8A590B6-CC87-83F7-8996-093D378BE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86E3058-0DEA-2D12-FB6F-878B43A69B7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97944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60FE81-C8AD-3A68-B6E5-2FBBCF0B20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914BB2BD-E725-BC18-A6C0-D6A7650AAF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A2841320-397D-6ADB-6DEE-C4B4C4147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E1723845-CEF7-5216-3170-E32B5ED3C72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60459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4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sv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0.svg"/><Relationship Id="rId4" Type="http://schemas.openxmlformats.org/officeDocument/2006/relationships/image" Target="../media/image3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3.sv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37.sv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9.sv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8.sv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0.svg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4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1.svg"/><Relationship Id="rId4" Type="http://schemas.openxmlformats.org/officeDocument/2006/relationships/image" Target="../media/image32.sv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sv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4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4.sv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sv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3.sv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sv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sv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6.sv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6" Type="http://schemas.openxmlformats.org/officeDocument/2006/relationships/image" Target="../media/image55.png"/><Relationship Id="rId5" Type="http://schemas.openxmlformats.org/officeDocument/2006/relationships/image" Target="../media/image46.svg"/><Relationship Id="rId4" Type="http://schemas.openxmlformats.org/officeDocument/2006/relationships/image" Target="../media/image54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6" Type="http://schemas.openxmlformats.org/officeDocument/2006/relationships/image" Target="../media/image33.svg"/><Relationship Id="rId5" Type="http://schemas.openxmlformats.org/officeDocument/2006/relationships/image" Target="../media/image32.svg"/><Relationship Id="rId4" Type="http://schemas.openxmlformats.org/officeDocument/2006/relationships/image" Target="../media/image58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37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9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8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0.sv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9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1.svg"/><Relationship Id="rId4" Type="http://schemas.openxmlformats.org/officeDocument/2006/relationships/image" Target="../media/image30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1.svg"/><Relationship Id="rId4" Type="http://schemas.openxmlformats.org/officeDocument/2006/relationships/image" Target="../media/image32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4.sv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9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1.svg"/><Relationship Id="rId4" Type="http://schemas.openxmlformats.org/officeDocument/2006/relationships/image" Target="../media/image30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sv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0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sv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6.sv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5.png"/><Relationship Id="rId5" Type="http://schemas.openxmlformats.org/officeDocument/2006/relationships/image" Target="../media/image46.svg"/><Relationship Id="rId4" Type="http://schemas.openxmlformats.org/officeDocument/2006/relationships/image" Target="../media/image54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8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9.sv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1.svg"/><Relationship Id="rId4" Type="http://schemas.openxmlformats.org/officeDocument/2006/relationships/image" Target="../media/image30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9.sv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1.svg"/><Relationship Id="rId4" Type="http://schemas.openxmlformats.org/officeDocument/2006/relationships/image" Target="../media/image30.sv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3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sv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0.svg"/><Relationship Id="rId4" Type="http://schemas.openxmlformats.org/officeDocument/2006/relationships/image" Target="../media/image3.sv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3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3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37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8.sv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svg"/><Relationship Id="rId4" Type="http://schemas.openxmlformats.org/officeDocument/2006/relationships/image" Target="../media/image3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sv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4.sv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8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9.sv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1.svg"/><Relationship Id="rId4" Type="http://schemas.openxmlformats.org/officeDocument/2006/relationships/image" Target="../media/image30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9.sv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1.svg"/><Relationship Id="rId4" Type="http://schemas.openxmlformats.org/officeDocument/2006/relationships/image" Target="../media/image30.sv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3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sv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0.svg"/><Relationship Id="rId4" Type="http://schemas.openxmlformats.org/officeDocument/2006/relationships/image" Target="../media/image3.sv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0.svg"/><Relationship Id="rId4" Type="http://schemas.openxmlformats.org/officeDocument/2006/relationships/image" Target="../media/image3.sv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3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3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37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sv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9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8.sv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0.sv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1.svg"/><Relationship Id="rId4" Type="http://schemas.openxmlformats.org/officeDocument/2006/relationships/image" Target="../media/image32.sv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sv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4.sv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8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9.sv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svg"/><Relationship Id="rId4" Type="http://schemas.openxmlformats.org/officeDocument/2006/relationships/image" Target="../media/image30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9.sv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svg"/><Relationship Id="rId4" Type="http://schemas.openxmlformats.org/officeDocument/2006/relationships/image" Target="../media/image30.svg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sv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339FF7-E679-BC64-FE01-C49096429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4562" y="2848767"/>
            <a:ext cx="68326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5400" b="1" i="0" u="none" strike="noStrike" kern="1200" cap="all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</a:t>
            </a:r>
            <a:r>
              <a:rPr lang="pt-BR" err="1"/>
              <a:t>títulO</a:t>
            </a:r>
            <a:endParaRPr lang="pt-BR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74D81A32-4C7C-0CCE-4AE1-180F087D38D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9BD457A8-84E7-7430-6D08-43149ED43C5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643448" y="4877887"/>
            <a:ext cx="1577057" cy="1853043"/>
          </a:xfrm>
          <a:prstGeom prst="rect">
            <a:avLst/>
          </a:prstGeom>
        </p:spPr>
      </p:pic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0D810081-EA73-009A-C87B-3D42044833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449218"/>
            <a:ext cx="6832600" cy="447675"/>
          </a:xfrm>
        </p:spPr>
        <p:txBody>
          <a:bodyPr lIns="144000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C8458586-A2E0-FAC7-BE44-2EA68F6CF9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4400" y="4205706"/>
            <a:ext cx="6832600" cy="447675"/>
          </a:xfrm>
        </p:spPr>
        <p:txBody>
          <a:bodyPr lIns="144000" anchor="t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24C9451C-4B61-4874-1435-D78622F233B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75600" y="-2844501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727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ipse 10">
            <a:extLst>
              <a:ext uri="{FF2B5EF4-FFF2-40B4-BE49-F238E27FC236}">
                <a16:creationId xmlns:a16="http://schemas.microsoft.com/office/drawing/2014/main" id="{33D9D3EE-07B8-DDE0-D24C-617A25DF28E4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6178550" y="-394648"/>
            <a:ext cx="6228000" cy="62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spaço Reservado para Imagem 9">
            <a:extLst>
              <a:ext uri="{FF2B5EF4-FFF2-40B4-BE49-F238E27FC236}">
                <a16:creationId xmlns:a16="http://schemas.microsoft.com/office/drawing/2014/main" id="{FBBB0E18-BC75-0FC9-7E6F-94F735FD7A0A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78335" y="-394649"/>
            <a:ext cx="6228231" cy="5890966"/>
          </a:xfrm>
          <a:custGeom>
            <a:avLst/>
            <a:gdLst>
              <a:gd name="connsiteX0" fmla="*/ 0 w 6228000"/>
              <a:gd name="connsiteY0" fmla="*/ 3114000 h 6228000"/>
              <a:gd name="connsiteX1" fmla="*/ 3114000 w 6228000"/>
              <a:gd name="connsiteY1" fmla="*/ 0 h 6228000"/>
              <a:gd name="connsiteX2" fmla="*/ 6228000 w 6228000"/>
              <a:gd name="connsiteY2" fmla="*/ 3114000 h 6228000"/>
              <a:gd name="connsiteX3" fmla="*/ 3114000 w 6228000"/>
              <a:gd name="connsiteY3" fmla="*/ 6228000 h 6228000"/>
              <a:gd name="connsiteX4" fmla="*/ 0 w 6228000"/>
              <a:gd name="connsiteY4" fmla="*/ 3114000 h 6228000"/>
              <a:gd name="connsiteX0" fmla="*/ 335458 w 6563458"/>
              <a:gd name="connsiteY0" fmla="*/ 3114000 h 6235728"/>
              <a:gd name="connsiteX1" fmla="*/ 3449458 w 6563458"/>
              <a:gd name="connsiteY1" fmla="*/ 0 h 6235728"/>
              <a:gd name="connsiteX2" fmla="*/ 6563458 w 6563458"/>
              <a:gd name="connsiteY2" fmla="*/ 3114000 h 6235728"/>
              <a:gd name="connsiteX3" fmla="*/ 3449458 w 6563458"/>
              <a:gd name="connsiteY3" fmla="*/ 6228000 h 6235728"/>
              <a:gd name="connsiteX4" fmla="*/ 436684 w 6563458"/>
              <a:gd name="connsiteY4" fmla="*/ 3971566 h 6235728"/>
              <a:gd name="connsiteX5" fmla="*/ 335458 w 6563458"/>
              <a:gd name="connsiteY5" fmla="*/ 3114000 h 6235728"/>
              <a:gd name="connsiteX0" fmla="*/ 198652 w 6426652"/>
              <a:gd name="connsiteY0" fmla="*/ 3114000 h 6235728"/>
              <a:gd name="connsiteX1" fmla="*/ 3312652 w 6426652"/>
              <a:gd name="connsiteY1" fmla="*/ 0 h 6235728"/>
              <a:gd name="connsiteX2" fmla="*/ 6426652 w 6426652"/>
              <a:gd name="connsiteY2" fmla="*/ 3114000 h 6235728"/>
              <a:gd name="connsiteX3" fmla="*/ 3312652 w 6426652"/>
              <a:gd name="connsiteY3" fmla="*/ 6228000 h 6235728"/>
              <a:gd name="connsiteX4" fmla="*/ 299878 w 6426652"/>
              <a:gd name="connsiteY4" fmla="*/ 3971566 h 6235728"/>
              <a:gd name="connsiteX5" fmla="*/ 198652 w 6426652"/>
              <a:gd name="connsiteY5" fmla="*/ 3114000 h 6235728"/>
              <a:gd name="connsiteX0" fmla="*/ 0 w 6228000"/>
              <a:gd name="connsiteY0" fmla="*/ 3114000 h 6235728"/>
              <a:gd name="connsiteX1" fmla="*/ 3114000 w 6228000"/>
              <a:gd name="connsiteY1" fmla="*/ 0 h 6235728"/>
              <a:gd name="connsiteX2" fmla="*/ 6228000 w 6228000"/>
              <a:gd name="connsiteY2" fmla="*/ 3114000 h 6235728"/>
              <a:gd name="connsiteX3" fmla="*/ 3114000 w 6228000"/>
              <a:gd name="connsiteY3" fmla="*/ 6228000 h 6235728"/>
              <a:gd name="connsiteX4" fmla="*/ 101226 w 6228000"/>
              <a:gd name="connsiteY4" fmla="*/ 3971566 h 6235728"/>
              <a:gd name="connsiteX5" fmla="*/ 0 w 6228000"/>
              <a:gd name="connsiteY5" fmla="*/ 3114000 h 6235728"/>
              <a:gd name="connsiteX0" fmla="*/ 3161 w 6231161"/>
              <a:gd name="connsiteY0" fmla="*/ 3114000 h 6235728"/>
              <a:gd name="connsiteX1" fmla="*/ 3117161 w 6231161"/>
              <a:gd name="connsiteY1" fmla="*/ 0 h 6235728"/>
              <a:gd name="connsiteX2" fmla="*/ 6231161 w 6231161"/>
              <a:gd name="connsiteY2" fmla="*/ 3114000 h 6235728"/>
              <a:gd name="connsiteX3" fmla="*/ 3117161 w 6231161"/>
              <a:gd name="connsiteY3" fmla="*/ 6228000 h 6235728"/>
              <a:gd name="connsiteX4" fmla="*/ 104387 w 6231161"/>
              <a:gd name="connsiteY4" fmla="*/ 3971566 h 6235728"/>
              <a:gd name="connsiteX5" fmla="*/ 3161 w 6231161"/>
              <a:gd name="connsiteY5" fmla="*/ 3114000 h 6235728"/>
              <a:gd name="connsiteX0" fmla="*/ 3161 w 6231161"/>
              <a:gd name="connsiteY0" fmla="*/ 3114000 h 6234127"/>
              <a:gd name="connsiteX1" fmla="*/ 3117161 w 6231161"/>
              <a:gd name="connsiteY1" fmla="*/ 0 h 6234127"/>
              <a:gd name="connsiteX2" fmla="*/ 6231161 w 6231161"/>
              <a:gd name="connsiteY2" fmla="*/ 3114000 h 6234127"/>
              <a:gd name="connsiteX3" fmla="*/ 3117161 w 6231161"/>
              <a:gd name="connsiteY3" fmla="*/ 6228000 h 6234127"/>
              <a:gd name="connsiteX4" fmla="*/ 104387 w 6231161"/>
              <a:gd name="connsiteY4" fmla="*/ 3971566 h 6234127"/>
              <a:gd name="connsiteX5" fmla="*/ 3161 w 6231161"/>
              <a:gd name="connsiteY5" fmla="*/ 3114000 h 6234127"/>
              <a:gd name="connsiteX0" fmla="*/ 232739 w 6460739"/>
              <a:gd name="connsiteY0" fmla="*/ 3114000 h 4134120"/>
              <a:gd name="connsiteX1" fmla="*/ 3346739 w 6460739"/>
              <a:gd name="connsiteY1" fmla="*/ 0 h 4134120"/>
              <a:gd name="connsiteX2" fmla="*/ 6460739 w 6460739"/>
              <a:gd name="connsiteY2" fmla="*/ 3114000 h 4134120"/>
              <a:gd name="connsiteX3" fmla="*/ 4624210 w 6460739"/>
              <a:gd name="connsiteY3" fmla="*/ 3968895 h 4134120"/>
              <a:gd name="connsiteX4" fmla="*/ 333965 w 6460739"/>
              <a:gd name="connsiteY4" fmla="*/ 3971566 h 4134120"/>
              <a:gd name="connsiteX5" fmla="*/ 232739 w 6460739"/>
              <a:gd name="connsiteY5" fmla="*/ 3114000 h 4134120"/>
              <a:gd name="connsiteX0" fmla="*/ 232739 w 6533426"/>
              <a:gd name="connsiteY0" fmla="*/ 3114000 h 4101226"/>
              <a:gd name="connsiteX1" fmla="*/ 3346739 w 6533426"/>
              <a:gd name="connsiteY1" fmla="*/ 0 h 4101226"/>
              <a:gd name="connsiteX2" fmla="*/ 6460739 w 6533426"/>
              <a:gd name="connsiteY2" fmla="*/ 3114000 h 4101226"/>
              <a:gd name="connsiteX3" fmla="*/ 5470743 w 6533426"/>
              <a:gd name="connsiteY3" fmla="*/ 4052249 h 4101226"/>
              <a:gd name="connsiteX4" fmla="*/ 4624210 w 6533426"/>
              <a:gd name="connsiteY4" fmla="*/ 3968895 h 4101226"/>
              <a:gd name="connsiteX5" fmla="*/ 333965 w 6533426"/>
              <a:gd name="connsiteY5" fmla="*/ 3971566 h 4101226"/>
              <a:gd name="connsiteX6" fmla="*/ 232739 w 6533426"/>
              <a:gd name="connsiteY6" fmla="*/ 3114000 h 4101226"/>
              <a:gd name="connsiteX0" fmla="*/ 232739 w 6507150"/>
              <a:gd name="connsiteY0" fmla="*/ 3114000 h 5929534"/>
              <a:gd name="connsiteX1" fmla="*/ 3346739 w 6507150"/>
              <a:gd name="connsiteY1" fmla="*/ 0 h 5929534"/>
              <a:gd name="connsiteX2" fmla="*/ 6460739 w 6507150"/>
              <a:gd name="connsiteY2" fmla="*/ 3114000 h 5929534"/>
              <a:gd name="connsiteX3" fmla="*/ 4731155 w 6507150"/>
              <a:gd name="connsiteY3" fmla="*/ 5921390 h 5929534"/>
              <a:gd name="connsiteX4" fmla="*/ 4624210 w 6507150"/>
              <a:gd name="connsiteY4" fmla="*/ 3968895 h 5929534"/>
              <a:gd name="connsiteX5" fmla="*/ 333965 w 6507150"/>
              <a:gd name="connsiteY5" fmla="*/ 3971566 h 5929534"/>
              <a:gd name="connsiteX6" fmla="*/ 232739 w 6507150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3162 w 6233122"/>
              <a:gd name="connsiteY0" fmla="*/ 3114000 h 5929534"/>
              <a:gd name="connsiteX1" fmla="*/ 3117162 w 6233122"/>
              <a:gd name="connsiteY1" fmla="*/ 0 h 5929534"/>
              <a:gd name="connsiteX2" fmla="*/ 6231162 w 6233122"/>
              <a:gd name="connsiteY2" fmla="*/ 3114000 h 5929534"/>
              <a:gd name="connsiteX3" fmla="*/ 4501578 w 6233122"/>
              <a:gd name="connsiteY3" fmla="*/ 5921390 h 5929534"/>
              <a:gd name="connsiteX4" fmla="*/ 4394633 w 6233122"/>
              <a:gd name="connsiteY4" fmla="*/ 3968895 h 5929534"/>
              <a:gd name="connsiteX5" fmla="*/ 104388 w 6233122"/>
              <a:gd name="connsiteY5" fmla="*/ 3971566 h 5929534"/>
              <a:gd name="connsiteX6" fmla="*/ 3162 w 6233122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83173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37653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3019 w 6412979"/>
              <a:gd name="connsiteY0" fmla="*/ 3114000 h 5904331"/>
              <a:gd name="connsiteX1" fmla="*/ 3297019 w 6412979"/>
              <a:gd name="connsiteY1" fmla="*/ 0 h 5904331"/>
              <a:gd name="connsiteX2" fmla="*/ 6411019 w 6412979"/>
              <a:gd name="connsiteY2" fmla="*/ 3114000 h 5904331"/>
              <a:gd name="connsiteX3" fmla="*/ 4667787 w 6412979"/>
              <a:gd name="connsiteY3" fmla="*/ 5904331 h 5904331"/>
              <a:gd name="connsiteX4" fmla="*/ 4664158 w 6412979"/>
              <a:gd name="connsiteY4" fmla="*/ 4147888 h 5904331"/>
              <a:gd name="connsiteX5" fmla="*/ 4574490 w 6412979"/>
              <a:gd name="connsiteY5" fmla="*/ 3968895 h 5904331"/>
              <a:gd name="connsiteX6" fmla="*/ 355896 w 6412979"/>
              <a:gd name="connsiteY6" fmla="*/ 3968154 h 5904331"/>
              <a:gd name="connsiteX7" fmla="*/ 313146 w 6412979"/>
              <a:gd name="connsiteY7" fmla="*/ 3984011 h 5904331"/>
              <a:gd name="connsiteX8" fmla="*/ 183019 w 6412979"/>
              <a:gd name="connsiteY8" fmla="*/ 3114000 h 5904331"/>
              <a:gd name="connsiteX0" fmla="*/ 144151 w 6374111"/>
              <a:gd name="connsiteY0" fmla="*/ 3114000 h 5904331"/>
              <a:gd name="connsiteX1" fmla="*/ 3258151 w 6374111"/>
              <a:gd name="connsiteY1" fmla="*/ 0 h 5904331"/>
              <a:gd name="connsiteX2" fmla="*/ 6372151 w 6374111"/>
              <a:gd name="connsiteY2" fmla="*/ 3114000 h 5904331"/>
              <a:gd name="connsiteX3" fmla="*/ 4628919 w 6374111"/>
              <a:gd name="connsiteY3" fmla="*/ 5904331 h 5904331"/>
              <a:gd name="connsiteX4" fmla="*/ 4625290 w 6374111"/>
              <a:gd name="connsiteY4" fmla="*/ 4147888 h 5904331"/>
              <a:gd name="connsiteX5" fmla="*/ 4535622 w 6374111"/>
              <a:gd name="connsiteY5" fmla="*/ 3968895 h 5904331"/>
              <a:gd name="connsiteX6" fmla="*/ 317028 w 6374111"/>
              <a:gd name="connsiteY6" fmla="*/ 3968154 h 5904331"/>
              <a:gd name="connsiteX7" fmla="*/ 274278 w 6374111"/>
              <a:gd name="connsiteY7" fmla="*/ 3984011 h 5904331"/>
              <a:gd name="connsiteX8" fmla="*/ 144151 w 6374111"/>
              <a:gd name="connsiteY8" fmla="*/ 3114000 h 5904331"/>
              <a:gd name="connsiteX0" fmla="*/ 141340 w 6371300"/>
              <a:gd name="connsiteY0" fmla="*/ 3114000 h 5904331"/>
              <a:gd name="connsiteX1" fmla="*/ 3255340 w 6371300"/>
              <a:gd name="connsiteY1" fmla="*/ 0 h 5904331"/>
              <a:gd name="connsiteX2" fmla="*/ 6369340 w 6371300"/>
              <a:gd name="connsiteY2" fmla="*/ 3114000 h 5904331"/>
              <a:gd name="connsiteX3" fmla="*/ 4626108 w 6371300"/>
              <a:gd name="connsiteY3" fmla="*/ 5904331 h 5904331"/>
              <a:gd name="connsiteX4" fmla="*/ 4622479 w 6371300"/>
              <a:gd name="connsiteY4" fmla="*/ 4147888 h 5904331"/>
              <a:gd name="connsiteX5" fmla="*/ 4532811 w 6371300"/>
              <a:gd name="connsiteY5" fmla="*/ 3968895 h 5904331"/>
              <a:gd name="connsiteX6" fmla="*/ 314217 w 6371300"/>
              <a:gd name="connsiteY6" fmla="*/ 3968154 h 5904331"/>
              <a:gd name="connsiteX7" fmla="*/ 281702 w 6371300"/>
              <a:gd name="connsiteY7" fmla="*/ 3987423 h 5904331"/>
              <a:gd name="connsiteX8" fmla="*/ 141340 w 6371300"/>
              <a:gd name="connsiteY8" fmla="*/ 3114000 h 5904331"/>
              <a:gd name="connsiteX0" fmla="*/ 181 w 6230141"/>
              <a:gd name="connsiteY0" fmla="*/ 3114000 h 5904331"/>
              <a:gd name="connsiteX1" fmla="*/ 3114181 w 6230141"/>
              <a:gd name="connsiteY1" fmla="*/ 0 h 5904331"/>
              <a:gd name="connsiteX2" fmla="*/ 6228181 w 6230141"/>
              <a:gd name="connsiteY2" fmla="*/ 3114000 h 5904331"/>
              <a:gd name="connsiteX3" fmla="*/ 4484949 w 6230141"/>
              <a:gd name="connsiteY3" fmla="*/ 5904331 h 5904331"/>
              <a:gd name="connsiteX4" fmla="*/ 4481320 w 6230141"/>
              <a:gd name="connsiteY4" fmla="*/ 4147888 h 5904331"/>
              <a:gd name="connsiteX5" fmla="*/ 4391652 w 6230141"/>
              <a:gd name="connsiteY5" fmla="*/ 3968895 h 5904331"/>
              <a:gd name="connsiteX6" fmla="*/ 173058 w 6230141"/>
              <a:gd name="connsiteY6" fmla="*/ 3968154 h 5904331"/>
              <a:gd name="connsiteX7" fmla="*/ 140543 w 6230141"/>
              <a:gd name="connsiteY7" fmla="*/ 3987423 h 5904331"/>
              <a:gd name="connsiteX8" fmla="*/ 181 w 6230141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94243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6"/>
              <a:gd name="connsiteY0" fmla="*/ 3114000 h 5904331"/>
              <a:gd name="connsiteX1" fmla="*/ 3114199 w 6228216"/>
              <a:gd name="connsiteY1" fmla="*/ 0 h 5904331"/>
              <a:gd name="connsiteX2" fmla="*/ 6228199 w 6228216"/>
              <a:gd name="connsiteY2" fmla="*/ 3114000 h 5904331"/>
              <a:gd name="connsiteX3" fmla="*/ 4474456 w 6228216"/>
              <a:gd name="connsiteY3" fmla="*/ 5904331 h 5904331"/>
              <a:gd name="connsiteX4" fmla="*/ 4481338 w 6228216"/>
              <a:gd name="connsiteY4" fmla="*/ 4147888 h 5904331"/>
              <a:gd name="connsiteX5" fmla="*/ 4391670 w 6228216"/>
              <a:gd name="connsiteY5" fmla="*/ 3968895 h 5904331"/>
              <a:gd name="connsiteX6" fmla="*/ 194243 w 6228216"/>
              <a:gd name="connsiteY6" fmla="*/ 3968154 h 5904331"/>
              <a:gd name="connsiteX7" fmla="*/ 126914 w 6228216"/>
              <a:gd name="connsiteY7" fmla="*/ 3990835 h 5904331"/>
              <a:gd name="connsiteX8" fmla="*/ 199 w 6228216"/>
              <a:gd name="connsiteY8" fmla="*/ 3114000 h 5904331"/>
              <a:gd name="connsiteX0" fmla="*/ 199 w 6228216"/>
              <a:gd name="connsiteY0" fmla="*/ 3114000 h 5915833"/>
              <a:gd name="connsiteX1" fmla="*/ 3114199 w 6228216"/>
              <a:gd name="connsiteY1" fmla="*/ 0 h 5915833"/>
              <a:gd name="connsiteX2" fmla="*/ 6228199 w 6228216"/>
              <a:gd name="connsiteY2" fmla="*/ 3114000 h 5915833"/>
              <a:gd name="connsiteX3" fmla="*/ 4480207 w 6228216"/>
              <a:gd name="connsiteY3" fmla="*/ 5915833 h 5915833"/>
              <a:gd name="connsiteX4" fmla="*/ 4481338 w 6228216"/>
              <a:gd name="connsiteY4" fmla="*/ 4147888 h 5915833"/>
              <a:gd name="connsiteX5" fmla="*/ 4391670 w 6228216"/>
              <a:gd name="connsiteY5" fmla="*/ 3968895 h 5915833"/>
              <a:gd name="connsiteX6" fmla="*/ 194243 w 6228216"/>
              <a:gd name="connsiteY6" fmla="*/ 3968154 h 5915833"/>
              <a:gd name="connsiteX7" fmla="*/ 126914 w 6228216"/>
              <a:gd name="connsiteY7" fmla="*/ 3990835 h 5915833"/>
              <a:gd name="connsiteX8" fmla="*/ 199 w 6228216"/>
              <a:gd name="connsiteY8" fmla="*/ 3114000 h 5915833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6649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7664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9443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80207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52241"/>
              <a:gd name="connsiteX1" fmla="*/ 3114199 w 6228217"/>
              <a:gd name="connsiteY1" fmla="*/ 0 h 5952241"/>
              <a:gd name="connsiteX2" fmla="*/ 6228199 w 6228217"/>
              <a:gd name="connsiteY2" fmla="*/ 3114000 h 5952241"/>
              <a:gd name="connsiteX3" fmla="*/ 4476649 w 6228217"/>
              <a:gd name="connsiteY3" fmla="*/ 5952241 h 5952241"/>
              <a:gd name="connsiteX4" fmla="*/ 4481338 w 6228217"/>
              <a:gd name="connsiteY4" fmla="*/ 4147888 h 5952241"/>
              <a:gd name="connsiteX5" fmla="*/ 4391670 w 6228217"/>
              <a:gd name="connsiteY5" fmla="*/ 3968895 h 5952241"/>
              <a:gd name="connsiteX6" fmla="*/ 194243 w 6228217"/>
              <a:gd name="connsiteY6" fmla="*/ 3968154 h 5952241"/>
              <a:gd name="connsiteX7" fmla="*/ 126914 w 6228217"/>
              <a:gd name="connsiteY7" fmla="*/ 3990835 h 5952241"/>
              <a:gd name="connsiteX8" fmla="*/ 199 w 6228217"/>
              <a:gd name="connsiteY8" fmla="*/ 3114000 h 5952241"/>
              <a:gd name="connsiteX0" fmla="*/ 199 w 6228216"/>
              <a:gd name="connsiteY0" fmla="*/ 3114000 h 5977146"/>
              <a:gd name="connsiteX1" fmla="*/ 3114199 w 6228216"/>
              <a:gd name="connsiteY1" fmla="*/ 0 h 5977146"/>
              <a:gd name="connsiteX2" fmla="*/ 6228199 w 6228216"/>
              <a:gd name="connsiteY2" fmla="*/ 3114000 h 5977146"/>
              <a:gd name="connsiteX3" fmla="*/ 4469533 w 6228216"/>
              <a:gd name="connsiteY3" fmla="*/ 5977146 h 5977146"/>
              <a:gd name="connsiteX4" fmla="*/ 4481338 w 6228216"/>
              <a:gd name="connsiteY4" fmla="*/ 4147888 h 5977146"/>
              <a:gd name="connsiteX5" fmla="*/ 4391670 w 6228216"/>
              <a:gd name="connsiteY5" fmla="*/ 3968895 h 5977146"/>
              <a:gd name="connsiteX6" fmla="*/ 194243 w 6228216"/>
              <a:gd name="connsiteY6" fmla="*/ 3968154 h 5977146"/>
              <a:gd name="connsiteX7" fmla="*/ 126914 w 6228216"/>
              <a:gd name="connsiteY7" fmla="*/ 3990835 h 5977146"/>
              <a:gd name="connsiteX8" fmla="*/ 199 w 6228216"/>
              <a:gd name="connsiteY8" fmla="*/ 3114000 h 5977146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5"/>
              <a:gd name="connsiteY0" fmla="*/ 3114000 h 5927335"/>
              <a:gd name="connsiteX1" fmla="*/ 3114199 w 6228215"/>
              <a:gd name="connsiteY1" fmla="*/ 0 h 5927335"/>
              <a:gd name="connsiteX2" fmla="*/ 6228199 w 6228215"/>
              <a:gd name="connsiteY2" fmla="*/ 3114000 h 5927335"/>
              <a:gd name="connsiteX3" fmla="*/ 4473091 w 6228215"/>
              <a:gd name="connsiteY3" fmla="*/ 5927335 h 5927335"/>
              <a:gd name="connsiteX4" fmla="*/ 4481338 w 6228215"/>
              <a:gd name="connsiteY4" fmla="*/ 4147888 h 5927335"/>
              <a:gd name="connsiteX5" fmla="*/ 4391670 w 6228215"/>
              <a:gd name="connsiteY5" fmla="*/ 3968895 h 5927335"/>
              <a:gd name="connsiteX6" fmla="*/ 194243 w 6228215"/>
              <a:gd name="connsiteY6" fmla="*/ 3968154 h 5927335"/>
              <a:gd name="connsiteX7" fmla="*/ 126914 w 6228215"/>
              <a:gd name="connsiteY7" fmla="*/ 3990835 h 5927335"/>
              <a:gd name="connsiteX8" fmla="*/ 199 w 6228215"/>
              <a:gd name="connsiteY8" fmla="*/ 3114000 h 5927335"/>
              <a:gd name="connsiteX0" fmla="*/ 199 w 6228216"/>
              <a:gd name="connsiteY0" fmla="*/ 3114000 h 5911748"/>
              <a:gd name="connsiteX1" fmla="*/ 3114199 w 6228216"/>
              <a:gd name="connsiteY1" fmla="*/ 0 h 5911748"/>
              <a:gd name="connsiteX2" fmla="*/ 6228199 w 6228216"/>
              <a:gd name="connsiteY2" fmla="*/ 3114000 h 5911748"/>
              <a:gd name="connsiteX3" fmla="*/ 4483482 w 6228216"/>
              <a:gd name="connsiteY3" fmla="*/ 5911748 h 5911748"/>
              <a:gd name="connsiteX4" fmla="*/ 4481338 w 6228216"/>
              <a:gd name="connsiteY4" fmla="*/ 4147888 h 5911748"/>
              <a:gd name="connsiteX5" fmla="*/ 4391670 w 6228216"/>
              <a:gd name="connsiteY5" fmla="*/ 3968895 h 5911748"/>
              <a:gd name="connsiteX6" fmla="*/ 194243 w 6228216"/>
              <a:gd name="connsiteY6" fmla="*/ 3968154 h 5911748"/>
              <a:gd name="connsiteX7" fmla="*/ 126914 w 6228216"/>
              <a:gd name="connsiteY7" fmla="*/ 3990835 h 5911748"/>
              <a:gd name="connsiteX8" fmla="*/ 199 w 6228216"/>
              <a:gd name="connsiteY8" fmla="*/ 3114000 h 5911748"/>
              <a:gd name="connsiteX0" fmla="*/ 199 w 6228216"/>
              <a:gd name="connsiteY0" fmla="*/ 3114000 h 5896162"/>
              <a:gd name="connsiteX1" fmla="*/ 3114199 w 6228216"/>
              <a:gd name="connsiteY1" fmla="*/ 0 h 5896162"/>
              <a:gd name="connsiteX2" fmla="*/ 6228199 w 6228216"/>
              <a:gd name="connsiteY2" fmla="*/ 3114000 h 5896162"/>
              <a:gd name="connsiteX3" fmla="*/ 4483482 w 6228216"/>
              <a:gd name="connsiteY3" fmla="*/ 5896162 h 5896162"/>
              <a:gd name="connsiteX4" fmla="*/ 4481338 w 6228216"/>
              <a:gd name="connsiteY4" fmla="*/ 4147888 h 5896162"/>
              <a:gd name="connsiteX5" fmla="*/ 4391670 w 6228216"/>
              <a:gd name="connsiteY5" fmla="*/ 3968895 h 5896162"/>
              <a:gd name="connsiteX6" fmla="*/ 194243 w 6228216"/>
              <a:gd name="connsiteY6" fmla="*/ 3968154 h 5896162"/>
              <a:gd name="connsiteX7" fmla="*/ 126914 w 6228216"/>
              <a:gd name="connsiteY7" fmla="*/ 3990835 h 5896162"/>
              <a:gd name="connsiteX8" fmla="*/ 199 w 6228216"/>
              <a:gd name="connsiteY8" fmla="*/ 3114000 h 5896162"/>
              <a:gd name="connsiteX0" fmla="*/ 199 w 6228216"/>
              <a:gd name="connsiteY0" fmla="*/ 3114000 h 5880575"/>
              <a:gd name="connsiteX1" fmla="*/ 3114199 w 6228216"/>
              <a:gd name="connsiteY1" fmla="*/ 0 h 5880575"/>
              <a:gd name="connsiteX2" fmla="*/ 6228199 w 6228216"/>
              <a:gd name="connsiteY2" fmla="*/ 3114000 h 5880575"/>
              <a:gd name="connsiteX3" fmla="*/ 4488677 w 6228216"/>
              <a:gd name="connsiteY3" fmla="*/ 5880575 h 5880575"/>
              <a:gd name="connsiteX4" fmla="*/ 4481338 w 6228216"/>
              <a:gd name="connsiteY4" fmla="*/ 4147888 h 5880575"/>
              <a:gd name="connsiteX5" fmla="*/ 4391670 w 6228216"/>
              <a:gd name="connsiteY5" fmla="*/ 3968895 h 5880575"/>
              <a:gd name="connsiteX6" fmla="*/ 194243 w 6228216"/>
              <a:gd name="connsiteY6" fmla="*/ 3968154 h 5880575"/>
              <a:gd name="connsiteX7" fmla="*/ 126914 w 6228216"/>
              <a:gd name="connsiteY7" fmla="*/ 3990835 h 5880575"/>
              <a:gd name="connsiteX8" fmla="*/ 199 w 6228216"/>
              <a:gd name="connsiteY8" fmla="*/ 3114000 h 5880575"/>
              <a:gd name="connsiteX0" fmla="*/ 199 w 6228216"/>
              <a:gd name="connsiteY0" fmla="*/ 3114000 h 5890966"/>
              <a:gd name="connsiteX1" fmla="*/ 3114199 w 6228216"/>
              <a:gd name="connsiteY1" fmla="*/ 0 h 5890966"/>
              <a:gd name="connsiteX2" fmla="*/ 6228199 w 6228216"/>
              <a:gd name="connsiteY2" fmla="*/ 3114000 h 5890966"/>
              <a:gd name="connsiteX3" fmla="*/ 4483481 w 6228216"/>
              <a:gd name="connsiteY3" fmla="*/ 5890966 h 5890966"/>
              <a:gd name="connsiteX4" fmla="*/ 4481338 w 6228216"/>
              <a:gd name="connsiteY4" fmla="*/ 4147888 h 5890966"/>
              <a:gd name="connsiteX5" fmla="*/ 4391670 w 6228216"/>
              <a:gd name="connsiteY5" fmla="*/ 3968895 h 5890966"/>
              <a:gd name="connsiteX6" fmla="*/ 194243 w 6228216"/>
              <a:gd name="connsiteY6" fmla="*/ 3968154 h 5890966"/>
              <a:gd name="connsiteX7" fmla="*/ 126914 w 6228216"/>
              <a:gd name="connsiteY7" fmla="*/ 3990835 h 5890966"/>
              <a:gd name="connsiteX8" fmla="*/ 199 w 6228216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4251 w 6228224"/>
              <a:gd name="connsiteY6" fmla="*/ 3968154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14 w 6228231"/>
              <a:gd name="connsiteY0" fmla="*/ 3114000 h 5890966"/>
              <a:gd name="connsiteX1" fmla="*/ 3114214 w 6228231"/>
              <a:gd name="connsiteY1" fmla="*/ 0 h 5890966"/>
              <a:gd name="connsiteX2" fmla="*/ 6228214 w 6228231"/>
              <a:gd name="connsiteY2" fmla="*/ 3114000 h 5890966"/>
              <a:gd name="connsiteX3" fmla="*/ 4483496 w 6228231"/>
              <a:gd name="connsiteY3" fmla="*/ 5890966 h 5890966"/>
              <a:gd name="connsiteX4" fmla="*/ 4481353 w 6228231"/>
              <a:gd name="connsiteY4" fmla="*/ 4147888 h 5890966"/>
              <a:gd name="connsiteX5" fmla="*/ 4370903 w 6228231"/>
              <a:gd name="connsiteY5" fmla="*/ 3953309 h 5890966"/>
              <a:gd name="connsiteX6" fmla="*/ 227024 w 6228231"/>
              <a:gd name="connsiteY6" fmla="*/ 3938182 h 5890966"/>
              <a:gd name="connsiteX7" fmla="*/ 117138 w 6228231"/>
              <a:gd name="connsiteY7" fmla="*/ 3956268 h 5890966"/>
              <a:gd name="connsiteX8" fmla="*/ 214 w 6228231"/>
              <a:gd name="connsiteY8" fmla="*/ 3114000 h 5890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28231" h="5890966">
                <a:moveTo>
                  <a:pt x="214" y="3114000"/>
                </a:moveTo>
                <a:cubicBezTo>
                  <a:pt x="-4330" y="1411998"/>
                  <a:pt x="1394399" y="0"/>
                  <a:pt x="3114214" y="0"/>
                </a:cubicBezTo>
                <a:cubicBezTo>
                  <a:pt x="4834029" y="0"/>
                  <a:pt x="6228009" y="1324528"/>
                  <a:pt x="6228214" y="3114000"/>
                </a:cubicBezTo>
                <a:cubicBezTo>
                  <a:pt x="6232591" y="4448745"/>
                  <a:pt x="5391347" y="5466913"/>
                  <a:pt x="4483496" y="5890966"/>
                </a:cubicBezTo>
                <a:cubicBezTo>
                  <a:pt x="4470286" y="5884723"/>
                  <a:pt x="4490830" y="4173263"/>
                  <a:pt x="4481353" y="4147888"/>
                </a:cubicBezTo>
                <a:cubicBezTo>
                  <a:pt x="4476337" y="4153536"/>
                  <a:pt x="4500847" y="3989338"/>
                  <a:pt x="4370903" y="3953309"/>
                </a:cubicBezTo>
                <a:lnTo>
                  <a:pt x="227024" y="3938182"/>
                </a:lnTo>
                <a:cubicBezTo>
                  <a:pt x="229896" y="3935584"/>
                  <a:pt x="121453" y="3950046"/>
                  <a:pt x="117138" y="3956268"/>
                </a:cubicBezTo>
                <a:cubicBezTo>
                  <a:pt x="115621" y="3943562"/>
                  <a:pt x="-5779" y="3527224"/>
                  <a:pt x="214" y="3114000"/>
                </a:cubicBezTo>
                <a:close/>
              </a:path>
            </a:pathLst>
          </a:custGeom>
        </p:spPr>
        <p:txBody>
          <a:bodyPr/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endParaRPr lang="pt-BR"/>
          </a:p>
          <a:p>
            <a:r>
              <a:rPr lang="pt-BR"/>
              <a:t>Imagem</a:t>
            </a:r>
            <a:br>
              <a:rPr lang="pt-BR"/>
            </a:br>
            <a:r>
              <a:rPr lang="pt-BR"/>
              <a:t>(opcional)</a:t>
            </a:r>
          </a:p>
        </p:txBody>
      </p:sp>
      <p:sp>
        <p:nvSpPr>
          <p:cNvPr id="45" name="Espaço Reservado para Texto 44">
            <a:extLst>
              <a:ext uri="{FF2B5EF4-FFF2-40B4-BE49-F238E27FC236}">
                <a16:creationId xmlns:a16="http://schemas.microsoft.com/office/drawing/2014/main" id="{06E30179-074A-9B58-6298-4663401723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38366" y="1329766"/>
            <a:ext cx="3385184" cy="1534684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lang="pt-BR" sz="1200" b="0" i="0" u="none" strike="noStrike" kern="1200" cap="none" dirty="0" smtClean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Freeform: Shape 24">
            <a:extLst>
              <a:ext uri="{FF2B5EF4-FFF2-40B4-BE49-F238E27FC236}">
                <a16:creationId xmlns:a16="http://schemas.microsoft.com/office/drawing/2014/main" id="{FD415740-21AF-903C-1A5A-37F7E5CC6A3C}"/>
              </a:ext>
            </a:extLst>
          </p:cNvPr>
          <p:cNvSpPr/>
          <p:nvPr userDrawn="1"/>
        </p:nvSpPr>
        <p:spPr>
          <a:xfrm>
            <a:off x="2" y="3886414"/>
            <a:ext cx="2848573" cy="2965721"/>
          </a:xfrm>
          <a:custGeom>
            <a:avLst/>
            <a:gdLst>
              <a:gd name="connsiteX0" fmla="*/ 1162912 w 2848573"/>
              <a:gd name="connsiteY0" fmla="*/ 0 h 2965721"/>
              <a:gd name="connsiteX1" fmla="*/ 2848573 w 2848573"/>
              <a:gd name="connsiteY1" fmla="*/ 1685661 h 2965721"/>
              <a:gd name="connsiteX2" fmla="*/ 2354855 w 2848573"/>
              <a:gd name="connsiteY2" fmla="*/ 2877604 h 2965721"/>
              <a:gd name="connsiteX3" fmla="*/ 2257901 w 2848573"/>
              <a:gd name="connsiteY3" fmla="*/ 2965721 h 2965721"/>
              <a:gd name="connsiteX4" fmla="*/ 67924 w 2848573"/>
              <a:gd name="connsiteY4" fmla="*/ 2965721 h 2965721"/>
              <a:gd name="connsiteX5" fmla="*/ 0 w 2848573"/>
              <a:gd name="connsiteY5" fmla="*/ 2903988 h 2965721"/>
              <a:gd name="connsiteX6" fmla="*/ 0 w 2848573"/>
              <a:gd name="connsiteY6" fmla="*/ 467334 h 2965721"/>
              <a:gd name="connsiteX7" fmla="*/ 90675 w 2848573"/>
              <a:gd name="connsiteY7" fmla="*/ 384923 h 2965721"/>
              <a:gd name="connsiteX8" fmla="*/ 1162912 w 2848573"/>
              <a:gd name="connsiteY8" fmla="*/ 0 h 296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48573" h="2965721">
                <a:moveTo>
                  <a:pt x="1162912" y="0"/>
                </a:moveTo>
                <a:cubicBezTo>
                  <a:pt x="2093877" y="0"/>
                  <a:pt x="2848573" y="754696"/>
                  <a:pt x="2848573" y="1685661"/>
                </a:cubicBezTo>
                <a:cubicBezTo>
                  <a:pt x="2848573" y="2151144"/>
                  <a:pt x="2659899" y="2572559"/>
                  <a:pt x="2354855" y="2877604"/>
                </a:cubicBezTo>
                <a:lnTo>
                  <a:pt x="2257901" y="2965721"/>
                </a:lnTo>
                <a:lnTo>
                  <a:pt x="67924" y="2965721"/>
                </a:lnTo>
                <a:lnTo>
                  <a:pt x="0" y="2903988"/>
                </a:lnTo>
                <a:lnTo>
                  <a:pt x="0" y="467334"/>
                </a:lnTo>
                <a:lnTo>
                  <a:pt x="90675" y="384923"/>
                </a:lnTo>
                <a:cubicBezTo>
                  <a:pt x="382057" y="144454"/>
                  <a:pt x="755615" y="0"/>
                  <a:pt x="1162912" y="0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8" name="Espaço Reservado para Imagem 27">
            <a:extLst>
              <a:ext uri="{FF2B5EF4-FFF2-40B4-BE49-F238E27FC236}">
                <a16:creationId xmlns:a16="http://schemas.microsoft.com/office/drawing/2014/main" id="{548B2331-2676-10C2-7E01-D10F6FB4AAA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81687" y="995363"/>
            <a:ext cx="793750" cy="793750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38" name="Título">
            <a:extLst>
              <a:ext uri="{FF2B5EF4-FFF2-40B4-BE49-F238E27FC236}">
                <a16:creationId xmlns:a16="http://schemas.microsoft.com/office/drawing/2014/main" id="{ADB15B2B-2001-9E64-8B66-5FAC0E2E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3244" y="1270707"/>
            <a:ext cx="4158456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0" name="Espaço Reservado para Texto 39">
            <a:extLst>
              <a:ext uri="{FF2B5EF4-FFF2-40B4-BE49-F238E27FC236}">
                <a16:creationId xmlns:a16="http://schemas.microsoft.com/office/drawing/2014/main" id="{A1760A25-CD4E-1960-08EE-258535BF93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23244" y="926629"/>
            <a:ext cx="4180096" cy="323211"/>
          </a:xfrm>
        </p:spPr>
        <p:txBody>
          <a:bodyPr lIns="126000">
            <a:noAutofit/>
          </a:bodyPr>
          <a:lstStyle>
            <a:lvl1pPr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8" name="Rectangle: Rounded Corners 9">
            <a:extLst>
              <a:ext uri="{FF2B5EF4-FFF2-40B4-BE49-F238E27FC236}">
                <a16:creationId xmlns:a16="http://schemas.microsoft.com/office/drawing/2014/main" id="{19FBD3DF-538E-7884-58FD-04DC57DB7E80}"/>
              </a:ext>
            </a:extLst>
          </p:cNvPr>
          <p:cNvSpPr/>
          <p:nvPr userDrawn="1"/>
        </p:nvSpPr>
        <p:spPr>
          <a:xfrm>
            <a:off x="1568450" y="3571620"/>
            <a:ext cx="4434893" cy="2405063"/>
          </a:xfrm>
          <a:prstGeom prst="roundRect">
            <a:avLst>
              <a:gd name="adj" fmla="val 6259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9" name="Rectangle: Rounded Corners 10">
            <a:extLst>
              <a:ext uri="{FF2B5EF4-FFF2-40B4-BE49-F238E27FC236}">
                <a16:creationId xmlns:a16="http://schemas.microsoft.com/office/drawing/2014/main" id="{AE95629A-85FB-D0D9-6F6F-A142203545A5}"/>
              </a:ext>
            </a:extLst>
          </p:cNvPr>
          <p:cNvSpPr/>
          <p:nvPr userDrawn="1"/>
        </p:nvSpPr>
        <p:spPr>
          <a:xfrm>
            <a:off x="6222183" y="3545643"/>
            <a:ext cx="4435200" cy="2431040"/>
          </a:xfrm>
          <a:custGeom>
            <a:avLst/>
            <a:gdLst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84667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79472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53494 w 4435200"/>
              <a:gd name="connsiteY2" fmla="*/ 10391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95058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315839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10391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5196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60924 h 2415454"/>
              <a:gd name="connsiteX1" fmla="*/ 150533 w 4435200"/>
              <a:gd name="connsiteY1" fmla="*/ 5195 h 2415454"/>
              <a:gd name="connsiteX2" fmla="*/ 4321035 w 4435200"/>
              <a:gd name="connsiteY2" fmla="*/ 0 h 2415454"/>
              <a:gd name="connsiteX3" fmla="*/ 4435200 w 4435200"/>
              <a:gd name="connsiteY3" fmla="*/ 160924 h 2415454"/>
              <a:gd name="connsiteX4" fmla="*/ 4435200 w 4435200"/>
              <a:gd name="connsiteY4" fmla="*/ 2264921 h 2415454"/>
              <a:gd name="connsiteX5" fmla="*/ 4284667 w 4435200"/>
              <a:gd name="connsiteY5" fmla="*/ 2415454 h 2415454"/>
              <a:gd name="connsiteX6" fmla="*/ 150533 w 4435200"/>
              <a:gd name="connsiteY6" fmla="*/ 2415454 h 2415454"/>
              <a:gd name="connsiteX7" fmla="*/ 0 w 4435200"/>
              <a:gd name="connsiteY7" fmla="*/ 2264921 h 2415454"/>
              <a:gd name="connsiteX8" fmla="*/ 0 w 4435200"/>
              <a:gd name="connsiteY8" fmla="*/ 160924 h 2415454"/>
              <a:gd name="connsiteX0" fmla="*/ 0 w 4435200"/>
              <a:gd name="connsiteY0" fmla="*/ 176510 h 2431040"/>
              <a:gd name="connsiteX1" fmla="*/ 155729 w 4435200"/>
              <a:gd name="connsiteY1" fmla="*/ 0 h 2431040"/>
              <a:gd name="connsiteX2" fmla="*/ 4321035 w 4435200"/>
              <a:gd name="connsiteY2" fmla="*/ 15586 h 2431040"/>
              <a:gd name="connsiteX3" fmla="*/ 4435200 w 4435200"/>
              <a:gd name="connsiteY3" fmla="*/ 176510 h 2431040"/>
              <a:gd name="connsiteX4" fmla="*/ 4435200 w 4435200"/>
              <a:gd name="connsiteY4" fmla="*/ 2280507 h 2431040"/>
              <a:gd name="connsiteX5" fmla="*/ 4284667 w 4435200"/>
              <a:gd name="connsiteY5" fmla="*/ 2431040 h 2431040"/>
              <a:gd name="connsiteX6" fmla="*/ 150533 w 4435200"/>
              <a:gd name="connsiteY6" fmla="*/ 2431040 h 2431040"/>
              <a:gd name="connsiteX7" fmla="*/ 0 w 4435200"/>
              <a:gd name="connsiteY7" fmla="*/ 2280507 h 2431040"/>
              <a:gd name="connsiteX8" fmla="*/ 0 w 4435200"/>
              <a:gd name="connsiteY8" fmla="*/ 176510 h 243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5200" h="2431040">
                <a:moveTo>
                  <a:pt x="0" y="176510"/>
                </a:moveTo>
                <a:cubicBezTo>
                  <a:pt x="0" y="93373"/>
                  <a:pt x="72592" y="0"/>
                  <a:pt x="155729" y="0"/>
                </a:cubicBezTo>
                <a:lnTo>
                  <a:pt x="4321035" y="15586"/>
                </a:lnTo>
                <a:cubicBezTo>
                  <a:pt x="4404172" y="15586"/>
                  <a:pt x="4435200" y="93373"/>
                  <a:pt x="4435200" y="176510"/>
                </a:cubicBezTo>
                <a:lnTo>
                  <a:pt x="4435200" y="2280507"/>
                </a:lnTo>
                <a:cubicBezTo>
                  <a:pt x="4435200" y="2363644"/>
                  <a:pt x="4367804" y="2431040"/>
                  <a:pt x="4284667" y="2431040"/>
                </a:cubicBezTo>
                <a:lnTo>
                  <a:pt x="150533" y="2431040"/>
                </a:lnTo>
                <a:cubicBezTo>
                  <a:pt x="67396" y="2431040"/>
                  <a:pt x="0" y="2363644"/>
                  <a:pt x="0" y="2280507"/>
                </a:cubicBezTo>
                <a:lnTo>
                  <a:pt x="0" y="1765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25" name="Espaço Reservado para Texto 24">
            <a:extLst>
              <a:ext uri="{FF2B5EF4-FFF2-40B4-BE49-F238E27FC236}">
                <a16:creationId xmlns:a16="http://schemas.microsoft.com/office/drawing/2014/main" id="{F23AF8C6-F807-A43D-E470-FC73BC02A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338" y="2698751"/>
            <a:ext cx="1949844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0" name="Espaço Reservado para Texto 29">
            <a:extLst>
              <a:ext uri="{FF2B5EF4-FFF2-40B4-BE49-F238E27FC236}">
                <a16:creationId xmlns:a16="http://schemas.microsoft.com/office/drawing/2014/main" id="{9D491E22-92EA-618D-BAF8-776849CE7C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11338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1" name="Espaço Reservado para Texto 29">
            <a:extLst>
              <a:ext uri="{FF2B5EF4-FFF2-40B4-BE49-F238E27FC236}">
                <a16:creationId xmlns:a16="http://schemas.microsoft.com/office/drawing/2014/main" id="{BDD87BC4-5DA3-8DE4-6EB4-09DF200DC5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764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3" name="Espaço Reservado para Texto 32">
            <a:extLst>
              <a:ext uri="{FF2B5EF4-FFF2-40B4-BE49-F238E27FC236}">
                <a16:creationId xmlns:a16="http://schemas.microsoft.com/office/drawing/2014/main" id="{5B90BA16-3647-7EE4-E8E7-A0663719D6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23244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4" name="Espaço Reservado para Texto 32">
            <a:extLst>
              <a:ext uri="{FF2B5EF4-FFF2-40B4-BE49-F238E27FC236}">
                <a16:creationId xmlns:a16="http://schemas.microsoft.com/office/drawing/2014/main" id="{20BD869A-4B19-32B8-B2D1-E173FCFC99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32315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6" name="Espaço Reservado para Imagem 35">
            <a:extLst>
              <a:ext uri="{FF2B5EF4-FFF2-40B4-BE49-F238E27FC236}">
                <a16:creationId xmlns:a16="http://schemas.microsoft.com/office/drawing/2014/main" id="{BDB52A58-E55C-9C98-C52A-346308CB97D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397500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37" name="Espaço Reservado para Imagem 35">
            <a:extLst>
              <a:ext uri="{FF2B5EF4-FFF2-40B4-BE49-F238E27FC236}">
                <a16:creationId xmlns:a16="http://schemas.microsoft.com/office/drawing/2014/main" id="{C1628873-D7CE-181B-53FE-C45F4CA950A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957144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26" name="Espaço Reservado para Texto 24">
            <a:extLst>
              <a:ext uri="{FF2B5EF4-FFF2-40B4-BE49-F238E27FC236}">
                <a16:creationId xmlns:a16="http://schemas.microsoft.com/office/drawing/2014/main" id="{78C5B9BC-23BA-9D40-0EFB-FD4839B9D6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3289" y="2698751"/>
            <a:ext cx="1971675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95C0EA-8668-632B-6E8C-C7C8464EF9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4038" y="2372411"/>
            <a:ext cx="41576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87102982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41749C37-0E1C-DA14-42C3-889AC06FF72F}"/>
              </a:ext>
            </a:extLst>
          </p:cNvPr>
          <p:cNvSpPr/>
          <p:nvPr userDrawn="1"/>
        </p:nvSpPr>
        <p:spPr>
          <a:xfrm>
            <a:off x="699837" y="2090737"/>
            <a:ext cx="5496426" cy="34004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02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7378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pic>
        <p:nvPicPr>
          <p:cNvPr id="2" name="Imagem 1" descr="Logotipo&#10;&#10;Descrição gerada automaticamente">
            <a:extLst>
              <a:ext uri="{FF2B5EF4-FFF2-40B4-BE49-F238E27FC236}">
                <a16:creationId xmlns:a16="http://schemas.microsoft.com/office/drawing/2014/main" id="{998CDD9A-C3B1-769F-4D99-0F7960F23A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6059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2" name="Espaço Reservado para Gráfico 7">
            <a:extLst>
              <a:ext uri="{FF2B5EF4-FFF2-40B4-BE49-F238E27FC236}">
                <a16:creationId xmlns:a16="http://schemas.microsoft.com/office/drawing/2014/main" id="{794511CE-6AEF-6FC7-2BBF-27E054E2A87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096321" y="1365660"/>
            <a:ext cx="3298629" cy="1941860"/>
          </a:xfrm>
        </p:spPr>
        <p:txBody>
          <a:bodyPr/>
          <a:lstStyle/>
          <a:p>
            <a:endParaRPr lang="pt-BR"/>
          </a:p>
        </p:txBody>
      </p:sp>
      <p:sp>
        <p:nvSpPr>
          <p:cNvPr id="3" name="Espaço Reservado para Gráfico 7">
            <a:extLst>
              <a:ext uri="{FF2B5EF4-FFF2-40B4-BE49-F238E27FC236}">
                <a16:creationId xmlns:a16="http://schemas.microsoft.com/office/drawing/2014/main" id="{ABB453D1-8782-5B15-4AA3-58BC9064C3C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096321" y="4274791"/>
            <a:ext cx="3298629" cy="1941860"/>
          </a:xfrm>
        </p:spPr>
        <p:txBody>
          <a:bodyPr/>
          <a:lstStyle/>
          <a:p>
            <a:endParaRPr lang="pt-BR"/>
          </a:p>
        </p:txBody>
      </p:sp>
      <p:pic>
        <p:nvPicPr>
          <p:cNvPr id="4" name="Imagem 3" descr="Logotipo&#10;&#10;Descrição gerada automaticamente">
            <a:extLst>
              <a:ext uri="{FF2B5EF4-FFF2-40B4-BE49-F238E27FC236}">
                <a16:creationId xmlns:a16="http://schemas.microsoft.com/office/drawing/2014/main" id="{661E7BC8-B2B9-4F0A-8111-4B95CFCCF33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11179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ço Reservado para Imagem 19">
            <a:extLst>
              <a:ext uri="{FF2B5EF4-FFF2-40B4-BE49-F238E27FC236}">
                <a16:creationId xmlns:a16="http://schemas.microsoft.com/office/drawing/2014/main" id="{F9F2879B-1708-B68F-540E-494C085AD7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8390" y="1527646"/>
            <a:ext cx="4170660" cy="4170660"/>
          </a:xfrm>
          <a:prstGeom prst="ellipse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9647610-F492-48EE-CCB8-AD39FEEDC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2816225"/>
            <a:ext cx="50673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4800" b="1" i="0" u="none" strike="noStrike" cap="none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AD957BC-C55B-0228-16B7-203A598615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44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3E6DD1D3-15F5-4616-A348-AC448C8A14AB}" type="datetimeFigureOut">
              <a:rPr lang="pt-BR" smtClean="0"/>
              <a:t>16/05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4899489-77E4-8AF7-E1D1-B8CA56026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9760599-4CA6-3D27-2B73-A6CBCEE6E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F43D91A0-3E8E-4090-8D40-C0F9E742A5CB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Círculo (Outline Foto)">
            <a:extLst>
              <a:ext uri="{FF2B5EF4-FFF2-40B4-BE49-F238E27FC236}">
                <a16:creationId xmlns:a16="http://schemas.microsoft.com/office/drawing/2014/main" id="{DEE7ED6F-280B-4BC1-CF9E-415E582F157A}"/>
              </a:ext>
            </a:extLst>
          </p:cNvPr>
          <p:cNvSpPr/>
          <p:nvPr userDrawn="1"/>
        </p:nvSpPr>
        <p:spPr>
          <a:xfrm>
            <a:off x="805218" y="1404474"/>
            <a:ext cx="4417004" cy="4417004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10" name="Grafismo - Círculos">
            <a:extLst>
              <a:ext uri="{FF2B5EF4-FFF2-40B4-BE49-F238E27FC236}">
                <a16:creationId xmlns:a16="http://schemas.microsoft.com/office/drawing/2014/main" id="{B7C94C14-8C01-C13E-14B6-1ECF9CC706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135889" y="274462"/>
            <a:ext cx="1837252" cy="2158772"/>
          </a:xfrm>
          <a:prstGeom prst="rect">
            <a:avLst/>
          </a:prstGeom>
        </p:spPr>
      </p:pic>
      <p:grpSp>
        <p:nvGrpSpPr>
          <p:cNvPr id="12" name="Grafismo - Topografia">
            <a:extLst>
              <a:ext uri="{FF2B5EF4-FFF2-40B4-BE49-F238E27FC236}">
                <a16:creationId xmlns:a16="http://schemas.microsoft.com/office/drawing/2014/main" id="{7CCC5CB8-61CD-43A9-DF2F-4F45D1B21138}"/>
              </a:ext>
            </a:extLst>
          </p:cNvPr>
          <p:cNvGrpSpPr/>
          <p:nvPr userDrawn="1"/>
        </p:nvGrpSpPr>
        <p:grpSpPr>
          <a:xfrm rot="10800000">
            <a:off x="161924" y="6509730"/>
            <a:ext cx="12030075" cy="475316"/>
            <a:chOff x="0" y="6347706"/>
            <a:chExt cx="11687627" cy="461786"/>
          </a:xfrm>
        </p:grpSpPr>
        <p:pic>
          <p:nvPicPr>
            <p:cNvPr id="13" name="Google Shape;108;p2">
              <a:extLst>
                <a:ext uri="{FF2B5EF4-FFF2-40B4-BE49-F238E27FC236}">
                  <a16:creationId xmlns:a16="http://schemas.microsoft.com/office/drawing/2014/main" id="{60B6082C-721D-B164-36FA-60EC2677FB63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 b="61474"/>
            <a:stretch/>
          </p:blipFill>
          <p:spPr>
            <a:xfrm>
              <a:off x="0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" name="Google Shape;109;p2">
              <a:extLst>
                <a:ext uri="{FF2B5EF4-FFF2-40B4-BE49-F238E27FC236}">
                  <a16:creationId xmlns:a16="http://schemas.microsoft.com/office/drawing/2014/main" id="{780DA761-98CD-4A24-6B8B-363BFEA33EEB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 b="61474"/>
            <a:stretch/>
          </p:blipFill>
          <p:spPr>
            <a:xfrm>
              <a:off x="5838371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6" name="Logo">
            <a:extLst>
              <a:ext uri="{FF2B5EF4-FFF2-40B4-BE49-F238E27FC236}">
                <a16:creationId xmlns:a16="http://schemas.microsoft.com/office/drawing/2014/main" id="{1A7D77B8-D82B-EE46-59A3-B08122B3BBE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34286" y="1200983"/>
            <a:ext cx="1412714" cy="829797"/>
          </a:xfrm>
          <a:prstGeom prst="rect">
            <a:avLst/>
          </a:prstGeom>
        </p:spPr>
      </p:pic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A590A436-C4FC-90AF-4136-6CB7CD1825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4268788"/>
            <a:ext cx="5067300" cy="365125"/>
          </a:xfrm>
        </p:spPr>
        <p:txBody>
          <a:bodyPr>
            <a:normAutofit/>
          </a:bodyPr>
          <a:lstStyle>
            <a:lvl1pPr>
              <a:defRPr lang="pt-BR" sz="1100" b="0" i="0" u="none" strike="noStrike" kern="1200" cap="all" spc="1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25" name="Espaço Reservado para Imagem 24">
            <a:extLst>
              <a:ext uri="{FF2B5EF4-FFF2-40B4-BE49-F238E27FC236}">
                <a16:creationId xmlns:a16="http://schemas.microsoft.com/office/drawing/2014/main" id="{00B443F9-E135-FF3E-E804-8FB8BE3E81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" y="1862138"/>
            <a:ext cx="2419350" cy="2178050"/>
          </a:xfrm>
        </p:spPr>
        <p:txBody>
          <a:bodyPr/>
          <a:lstStyle>
            <a:lvl1pPr algn="ctr">
              <a:defRPr b="0">
                <a:solidFill>
                  <a:schemeClr val="accent2"/>
                </a:solidFill>
              </a:defRPr>
            </a:lvl1pPr>
          </a:lstStyle>
          <a:p>
            <a:r>
              <a:rPr lang="pt-BR"/>
              <a:t>Grafismo </a:t>
            </a:r>
            <a:br>
              <a:rPr lang="pt-BR"/>
            </a:br>
            <a:r>
              <a:rPr lang="pt-BR"/>
              <a:t>(opcional)</a:t>
            </a:r>
          </a:p>
        </p:txBody>
      </p:sp>
      <p:pic>
        <p:nvPicPr>
          <p:cNvPr id="26" name="Gráfico 25">
            <a:extLst>
              <a:ext uri="{FF2B5EF4-FFF2-40B4-BE49-F238E27FC236}">
                <a16:creationId xmlns:a16="http://schemas.microsoft.com/office/drawing/2014/main" id="{F1A091A3-AFD6-49CA-1829-37DA249DD2C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85919" y="-483062"/>
            <a:ext cx="1577057" cy="185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979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758649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2691731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2094225"/>
            <a:ext cx="2398847" cy="2398847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/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C5BCF3B3-3544-DAA9-5634-21C61FEECDBC}"/>
              </a:ext>
            </a:extLst>
          </p:cNvPr>
          <p:cNvSpPr/>
          <p:nvPr userDrawn="1"/>
        </p:nvSpPr>
        <p:spPr>
          <a:xfrm>
            <a:off x="931579" y="2094225"/>
            <a:ext cx="5055268" cy="36290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B5DF07B2-02A4-CB71-CA7E-52A98612C97F}"/>
              </a:ext>
            </a:extLst>
          </p:cNvPr>
          <p:cNvSpPr/>
          <p:nvPr userDrawn="1"/>
        </p:nvSpPr>
        <p:spPr>
          <a:xfrm>
            <a:off x="6223200" y="2094224"/>
            <a:ext cx="5054400" cy="362226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13" name="Título 8">
            <a:extLst>
              <a:ext uri="{FF2B5EF4-FFF2-40B4-BE49-F238E27FC236}">
                <a16:creationId xmlns:a16="http://schemas.microsoft.com/office/drawing/2014/main" id="{7CD44CD7-56CD-8EB0-6CDD-B78477F92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09" y="641350"/>
            <a:ext cx="5969841" cy="92174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0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7" name="Espaço Reservado para Conteúdo 16">
            <a:extLst>
              <a:ext uri="{FF2B5EF4-FFF2-40B4-BE49-F238E27FC236}">
                <a16:creationId xmlns:a16="http://schemas.microsoft.com/office/drawing/2014/main" id="{70EC372B-880B-D5C5-1EC1-C8E4283A3C5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0139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8" name="Espaço Reservado para Conteúdo 16">
            <a:extLst>
              <a:ext uri="{FF2B5EF4-FFF2-40B4-BE49-F238E27FC236}">
                <a16:creationId xmlns:a16="http://schemas.microsoft.com/office/drawing/2014/main" id="{DD68C171-7AB8-FCB5-8C97-0B242937AF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01326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7670CCF1-D2B3-0565-9DD6-EE3AB55A5C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15606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ipse 10">
            <a:extLst>
              <a:ext uri="{FF2B5EF4-FFF2-40B4-BE49-F238E27FC236}">
                <a16:creationId xmlns:a16="http://schemas.microsoft.com/office/drawing/2014/main" id="{33D9D3EE-07B8-DDE0-D24C-617A25DF28E4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6178550" y="-394648"/>
            <a:ext cx="6228000" cy="62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spaço Reservado para Imagem 9">
            <a:extLst>
              <a:ext uri="{FF2B5EF4-FFF2-40B4-BE49-F238E27FC236}">
                <a16:creationId xmlns:a16="http://schemas.microsoft.com/office/drawing/2014/main" id="{FBBB0E18-BC75-0FC9-7E6F-94F735FD7A0A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78335" y="-394649"/>
            <a:ext cx="6228231" cy="5890966"/>
          </a:xfrm>
          <a:custGeom>
            <a:avLst/>
            <a:gdLst>
              <a:gd name="connsiteX0" fmla="*/ 0 w 6228000"/>
              <a:gd name="connsiteY0" fmla="*/ 3114000 h 6228000"/>
              <a:gd name="connsiteX1" fmla="*/ 3114000 w 6228000"/>
              <a:gd name="connsiteY1" fmla="*/ 0 h 6228000"/>
              <a:gd name="connsiteX2" fmla="*/ 6228000 w 6228000"/>
              <a:gd name="connsiteY2" fmla="*/ 3114000 h 6228000"/>
              <a:gd name="connsiteX3" fmla="*/ 3114000 w 6228000"/>
              <a:gd name="connsiteY3" fmla="*/ 6228000 h 6228000"/>
              <a:gd name="connsiteX4" fmla="*/ 0 w 6228000"/>
              <a:gd name="connsiteY4" fmla="*/ 3114000 h 6228000"/>
              <a:gd name="connsiteX0" fmla="*/ 335458 w 6563458"/>
              <a:gd name="connsiteY0" fmla="*/ 3114000 h 6235728"/>
              <a:gd name="connsiteX1" fmla="*/ 3449458 w 6563458"/>
              <a:gd name="connsiteY1" fmla="*/ 0 h 6235728"/>
              <a:gd name="connsiteX2" fmla="*/ 6563458 w 6563458"/>
              <a:gd name="connsiteY2" fmla="*/ 3114000 h 6235728"/>
              <a:gd name="connsiteX3" fmla="*/ 3449458 w 6563458"/>
              <a:gd name="connsiteY3" fmla="*/ 6228000 h 6235728"/>
              <a:gd name="connsiteX4" fmla="*/ 436684 w 6563458"/>
              <a:gd name="connsiteY4" fmla="*/ 3971566 h 6235728"/>
              <a:gd name="connsiteX5" fmla="*/ 335458 w 6563458"/>
              <a:gd name="connsiteY5" fmla="*/ 3114000 h 6235728"/>
              <a:gd name="connsiteX0" fmla="*/ 198652 w 6426652"/>
              <a:gd name="connsiteY0" fmla="*/ 3114000 h 6235728"/>
              <a:gd name="connsiteX1" fmla="*/ 3312652 w 6426652"/>
              <a:gd name="connsiteY1" fmla="*/ 0 h 6235728"/>
              <a:gd name="connsiteX2" fmla="*/ 6426652 w 6426652"/>
              <a:gd name="connsiteY2" fmla="*/ 3114000 h 6235728"/>
              <a:gd name="connsiteX3" fmla="*/ 3312652 w 6426652"/>
              <a:gd name="connsiteY3" fmla="*/ 6228000 h 6235728"/>
              <a:gd name="connsiteX4" fmla="*/ 299878 w 6426652"/>
              <a:gd name="connsiteY4" fmla="*/ 3971566 h 6235728"/>
              <a:gd name="connsiteX5" fmla="*/ 198652 w 6426652"/>
              <a:gd name="connsiteY5" fmla="*/ 3114000 h 6235728"/>
              <a:gd name="connsiteX0" fmla="*/ 0 w 6228000"/>
              <a:gd name="connsiteY0" fmla="*/ 3114000 h 6235728"/>
              <a:gd name="connsiteX1" fmla="*/ 3114000 w 6228000"/>
              <a:gd name="connsiteY1" fmla="*/ 0 h 6235728"/>
              <a:gd name="connsiteX2" fmla="*/ 6228000 w 6228000"/>
              <a:gd name="connsiteY2" fmla="*/ 3114000 h 6235728"/>
              <a:gd name="connsiteX3" fmla="*/ 3114000 w 6228000"/>
              <a:gd name="connsiteY3" fmla="*/ 6228000 h 6235728"/>
              <a:gd name="connsiteX4" fmla="*/ 101226 w 6228000"/>
              <a:gd name="connsiteY4" fmla="*/ 3971566 h 6235728"/>
              <a:gd name="connsiteX5" fmla="*/ 0 w 6228000"/>
              <a:gd name="connsiteY5" fmla="*/ 3114000 h 6235728"/>
              <a:gd name="connsiteX0" fmla="*/ 3161 w 6231161"/>
              <a:gd name="connsiteY0" fmla="*/ 3114000 h 6235728"/>
              <a:gd name="connsiteX1" fmla="*/ 3117161 w 6231161"/>
              <a:gd name="connsiteY1" fmla="*/ 0 h 6235728"/>
              <a:gd name="connsiteX2" fmla="*/ 6231161 w 6231161"/>
              <a:gd name="connsiteY2" fmla="*/ 3114000 h 6235728"/>
              <a:gd name="connsiteX3" fmla="*/ 3117161 w 6231161"/>
              <a:gd name="connsiteY3" fmla="*/ 6228000 h 6235728"/>
              <a:gd name="connsiteX4" fmla="*/ 104387 w 6231161"/>
              <a:gd name="connsiteY4" fmla="*/ 3971566 h 6235728"/>
              <a:gd name="connsiteX5" fmla="*/ 3161 w 6231161"/>
              <a:gd name="connsiteY5" fmla="*/ 3114000 h 6235728"/>
              <a:gd name="connsiteX0" fmla="*/ 3161 w 6231161"/>
              <a:gd name="connsiteY0" fmla="*/ 3114000 h 6234127"/>
              <a:gd name="connsiteX1" fmla="*/ 3117161 w 6231161"/>
              <a:gd name="connsiteY1" fmla="*/ 0 h 6234127"/>
              <a:gd name="connsiteX2" fmla="*/ 6231161 w 6231161"/>
              <a:gd name="connsiteY2" fmla="*/ 3114000 h 6234127"/>
              <a:gd name="connsiteX3" fmla="*/ 3117161 w 6231161"/>
              <a:gd name="connsiteY3" fmla="*/ 6228000 h 6234127"/>
              <a:gd name="connsiteX4" fmla="*/ 104387 w 6231161"/>
              <a:gd name="connsiteY4" fmla="*/ 3971566 h 6234127"/>
              <a:gd name="connsiteX5" fmla="*/ 3161 w 6231161"/>
              <a:gd name="connsiteY5" fmla="*/ 3114000 h 6234127"/>
              <a:gd name="connsiteX0" fmla="*/ 232739 w 6460739"/>
              <a:gd name="connsiteY0" fmla="*/ 3114000 h 4134120"/>
              <a:gd name="connsiteX1" fmla="*/ 3346739 w 6460739"/>
              <a:gd name="connsiteY1" fmla="*/ 0 h 4134120"/>
              <a:gd name="connsiteX2" fmla="*/ 6460739 w 6460739"/>
              <a:gd name="connsiteY2" fmla="*/ 3114000 h 4134120"/>
              <a:gd name="connsiteX3" fmla="*/ 4624210 w 6460739"/>
              <a:gd name="connsiteY3" fmla="*/ 3968895 h 4134120"/>
              <a:gd name="connsiteX4" fmla="*/ 333965 w 6460739"/>
              <a:gd name="connsiteY4" fmla="*/ 3971566 h 4134120"/>
              <a:gd name="connsiteX5" fmla="*/ 232739 w 6460739"/>
              <a:gd name="connsiteY5" fmla="*/ 3114000 h 4134120"/>
              <a:gd name="connsiteX0" fmla="*/ 232739 w 6533426"/>
              <a:gd name="connsiteY0" fmla="*/ 3114000 h 4101226"/>
              <a:gd name="connsiteX1" fmla="*/ 3346739 w 6533426"/>
              <a:gd name="connsiteY1" fmla="*/ 0 h 4101226"/>
              <a:gd name="connsiteX2" fmla="*/ 6460739 w 6533426"/>
              <a:gd name="connsiteY2" fmla="*/ 3114000 h 4101226"/>
              <a:gd name="connsiteX3" fmla="*/ 5470743 w 6533426"/>
              <a:gd name="connsiteY3" fmla="*/ 4052249 h 4101226"/>
              <a:gd name="connsiteX4" fmla="*/ 4624210 w 6533426"/>
              <a:gd name="connsiteY4" fmla="*/ 3968895 h 4101226"/>
              <a:gd name="connsiteX5" fmla="*/ 333965 w 6533426"/>
              <a:gd name="connsiteY5" fmla="*/ 3971566 h 4101226"/>
              <a:gd name="connsiteX6" fmla="*/ 232739 w 6533426"/>
              <a:gd name="connsiteY6" fmla="*/ 3114000 h 4101226"/>
              <a:gd name="connsiteX0" fmla="*/ 232739 w 6507150"/>
              <a:gd name="connsiteY0" fmla="*/ 3114000 h 5929534"/>
              <a:gd name="connsiteX1" fmla="*/ 3346739 w 6507150"/>
              <a:gd name="connsiteY1" fmla="*/ 0 h 5929534"/>
              <a:gd name="connsiteX2" fmla="*/ 6460739 w 6507150"/>
              <a:gd name="connsiteY2" fmla="*/ 3114000 h 5929534"/>
              <a:gd name="connsiteX3" fmla="*/ 4731155 w 6507150"/>
              <a:gd name="connsiteY3" fmla="*/ 5921390 h 5929534"/>
              <a:gd name="connsiteX4" fmla="*/ 4624210 w 6507150"/>
              <a:gd name="connsiteY4" fmla="*/ 3968895 h 5929534"/>
              <a:gd name="connsiteX5" fmla="*/ 333965 w 6507150"/>
              <a:gd name="connsiteY5" fmla="*/ 3971566 h 5929534"/>
              <a:gd name="connsiteX6" fmla="*/ 232739 w 6507150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3162 w 6233122"/>
              <a:gd name="connsiteY0" fmla="*/ 3114000 h 5929534"/>
              <a:gd name="connsiteX1" fmla="*/ 3117162 w 6233122"/>
              <a:gd name="connsiteY1" fmla="*/ 0 h 5929534"/>
              <a:gd name="connsiteX2" fmla="*/ 6231162 w 6233122"/>
              <a:gd name="connsiteY2" fmla="*/ 3114000 h 5929534"/>
              <a:gd name="connsiteX3" fmla="*/ 4501578 w 6233122"/>
              <a:gd name="connsiteY3" fmla="*/ 5921390 h 5929534"/>
              <a:gd name="connsiteX4" fmla="*/ 4394633 w 6233122"/>
              <a:gd name="connsiteY4" fmla="*/ 3968895 h 5929534"/>
              <a:gd name="connsiteX5" fmla="*/ 104388 w 6233122"/>
              <a:gd name="connsiteY5" fmla="*/ 3971566 h 5929534"/>
              <a:gd name="connsiteX6" fmla="*/ 3162 w 6233122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83173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37653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3019 w 6412979"/>
              <a:gd name="connsiteY0" fmla="*/ 3114000 h 5904331"/>
              <a:gd name="connsiteX1" fmla="*/ 3297019 w 6412979"/>
              <a:gd name="connsiteY1" fmla="*/ 0 h 5904331"/>
              <a:gd name="connsiteX2" fmla="*/ 6411019 w 6412979"/>
              <a:gd name="connsiteY2" fmla="*/ 3114000 h 5904331"/>
              <a:gd name="connsiteX3" fmla="*/ 4667787 w 6412979"/>
              <a:gd name="connsiteY3" fmla="*/ 5904331 h 5904331"/>
              <a:gd name="connsiteX4" fmla="*/ 4664158 w 6412979"/>
              <a:gd name="connsiteY4" fmla="*/ 4147888 h 5904331"/>
              <a:gd name="connsiteX5" fmla="*/ 4574490 w 6412979"/>
              <a:gd name="connsiteY5" fmla="*/ 3968895 h 5904331"/>
              <a:gd name="connsiteX6" fmla="*/ 355896 w 6412979"/>
              <a:gd name="connsiteY6" fmla="*/ 3968154 h 5904331"/>
              <a:gd name="connsiteX7" fmla="*/ 313146 w 6412979"/>
              <a:gd name="connsiteY7" fmla="*/ 3984011 h 5904331"/>
              <a:gd name="connsiteX8" fmla="*/ 183019 w 6412979"/>
              <a:gd name="connsiteY8" fmla="*/ 3114000 h 5904331"/>
              <a:gd name="connsiteX0" fmla="*/ 144151 w 6374111"/>
              <a:gd name="connsiteY0" fmla="*/ 3114000 h 5904331"/>
              <a:gd name="connsiteX1" fmla="*/ 3258151 w 6374111"/>
              <a:gd name="connsiteY1" fmla="*/ 0 h 5904331"/>
              <a:gd name="connsiteX2" fmla="*/ 6372151 w 6374111"/>
              <a:gd name="connsiteY2" fmla="*/ 3114000 h 5904331"/>
              <a:gd name="connsiteX3" fmla="*/ 4628919 w 6374111"/>
              <a:gd name="connsiteY3" fmla="*/ 5904331 h 5904331"/>
              <a:gd name="connsiteX4" fmla="*/ 4625290 w 6374111"/>
              <a:gd name="connsiteY4" fmla="*/ 4147888 h 5904331"/>
              <a:gd name="connsiteX5" fmla="*/ 4535622 w 6374111"/>
              <a:gd name="connsiteY5" fmla="*/ 3968895 h 5904331"/>
              <a:gd name="connsiteX6" fmla="*/ 317028 w 6374111"/>
              <a:gd name="connsiteY6" fmla="*/ 3968154 h 5904331"/>
              <a:gd name="connsiteX7" fmla="*/ 274278 w 6374111"/>
              <a:gd name="connsiteY7" fmla="*/ 3984011 h 5904331"/>
              <a:gd name="connsiteX8" fmla="*/ 144151 w 6374111"/>
              <a:gd name="connsiteY8" fmla="*/ 3114000 h 5904331"/>
              <a:gd name="connsiteX0" fmla="*/ 141340 w 6371300"/>
              <a:gd name="connsiteY0" fmla="*/ 3114000 h 5904331"/>
              <a:gd name="connsiteX1" fmla="*/ 3255340 w 6371300"/>
              <a:gd name="connsiteY1" fmla="*/ 0 h 5904331"/>
              <a:gd name="connsiteX2" fmla="*/ 6369340 w 6371300"/>
              <a:gd name="connsiteY2" fmla="*/ 3114000 h 5904331"/>
              <a:gd name="connsiteX3" fmla="*/ 4626108 w 6371300"/>
              <a:gd name="connsiteY3" fmla="*/ 5904331 h 5904331"/>
              <a:gd name="connsiteX4" fmla="*/ 4622479 w 6371300"/>
              <a:gd name="connsiteY4" fmla="*/ 4147888 h 5904331"/>
              <a:gd name="connsiteX5" fmla="*/ 4532811 w 6371300"/>
              <a:gd name="connsiteY5" fmla="*/ 3968895 h 5904331"/>
              <a:gd name="connsiteX6" fmla="*/ 314217 w 6371300"/>
              <a:gd name="connsiteY6" fmla="*/ 3968154 h 5904331"/>
              <a:gd name="connsiteX7" fmla="*/ 281702 w 6371300"/>
              <a:gd name="connsiteY7" fmla="*/ 3987423 h 5904331"/>
              <a:gd name="connsiteX8" fmla="*/ 141340 w 6371300"/>
              <a:gd name="connsiteY8" fmla="*/ 3114000 h 5904331"/>
              <a:gd name="connsiteX0" fmla="*/ 181 w 6230141"/>
              <a:gd name="connsiteY0" fmla="*/ 3114000 h 5904331"/>
              <a:gd name="connsiteX1" fmla="*/ 3114181 w 6230141"/>
              <a:gd name="connsiteY1" fmla="*/ 0 h 5904331"/>
              <a:gd name="connsiteX2" fmla="*/ 6228181 w 6230141"/>
              <a:gd name="connsiteY2" fmla="*/ 3114000 h 5904331"/>
              <a:gd name="connsiteX3" fmla="*/ 4484949 w 6230141"/>
              <a:gd name="connsiteY3" fmla="*/ 5904331 h 5904331"/>
              <a:gd name="connsiteX4" fmla="*/ 4481320 w 6230141"/>
              <a:gd name="connsiteY4" fmla="*/ 4147888 h 5904331"/>
              <a:gd name="connsiteX5" fmla="*/ 4391652 w 6230141"/>
              <a:gd name="connsiteY5" fmla="*/ 3968895 h 5904331"/>
              <a:gd name="connsiteX6" fmla="*/ 173058 w 6230141"/>
              <a:gd name="connsiteY6" fmla="*/ 3968154 h 5904331"/>
              <a:gd name="connsiteX7" fmla="*/ 140543 w 6230141"/>
              <a:gd name="connsiteY7" fmla="*/ 3987423 h 5904331"/>
              <a:gd name="connsiteX8" fmla="*/ 181 w 6230141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94243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6"/>
              <a:gd name="connsiteY0" fmla="*/ 3114000 h 5904331"/>
              <a:gd name="connsiteX1" fmla="*/ 3114199 w 6228216"/>
              <a:gd name="connsiteY1" fmla="*/ 0 h 5904331"/>
              <a:gd name="connsiteX2" fmla="*/ 6228199 w 6228216"/>
              <a:gd name="connsiteY2" fmla="*/ 3114000 h 5904331"/>
              <a:gd name="connsiteX3" fmla="*/ 4474456 w 6228216"/>
              <a:gd name="connsiteY3" fmla="*/ 5904331 h 5904331"/>
              <a:gd name="connsiteX4" fmla="*/ 4481338 w 6228216"/>
              <a:gd name="connsiteY4" fmla="*/ 4147888 h 5904331"/>
              <a:gd name="connsiteX5" fmla="*/ 4391670 w 6228216"/>
              <a:gd name="connsiteY5" fmla="*/ 3968895 h 5904331"/>
              <a:gd name="connsiteX6" fmla="*/ 194243 w 6228216"/>
              <a:gd name="connsiteY6" fmla="*/ 3968154 h 5904331"/>
              <a:gd name="connsiteX7" fmla="*/ 126914 w 6228216"/>
              <a:gd name="connsiteY7" fmla="*/ 3990835 h 5904331"/>
              <a:gd name="connsiteX8" fmla="*/ 199 w 6228216"/>
              <a:gd name="connsiteY8" fmla="*/ 3114000 h 5904331"/>
              <a:gd name="connsiteX0" fmla="*/ 199 w 6228216"/>
              <a:gd name="connsiteY0" fmla="*/ 3114000 h 5915833"/>
              <a:gd name="connsiteX1" fmla="*/ 3114199 w 6228216"/>
              <a:gd name="connsiteY1" fmla="*/ 0 h 5915833"/>
              <a:gd name="connsiteX2" fmla="*/ 6228199 w 6228216"/>
              <a:gd name="connsiteY2" fmla="*/ 3114000 h 5915833"/>
              <a:gd name="connsiteX3" fmla="*/ 4480207 w 6228216"/>
              <a:gd name="connsiteY3" fmla="*/ 5915833 h 5915833"/>
              <a:gd name="connsiteX4" fmla="*/ 4481338 w 6228216"/>
              <a:gd name="connsiteY4" fmla="*/ 4147888 h 5915833"/>
              <a:gd name="connsiteX5" fmla="*/ 4391670 w 6228216"/>
              <a:gd name="connsiteY5" fmla="*/ 3968895 h 5915833"/>
              <a:gd name="connsiteX6" fmla="*/ 194243 w 6228216"/>
              <a:gd name="connsiteY6" fmla="*/ 3968154 h 5915833"/>
              <a:gd name="connsiteX7" fmla="*/ 126914 w 6228216"/>
              <a:gd name="connsiteY7" fmla="*/ 3990835 h 5915833"/>
              <a:gd name="connsiteX8" fmla="*/ 199 w 6228216"/>
              <a:gd name="connsiteY8" fmla="*/ 3114000 h 5915833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6649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7664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9443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80207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52241"/>
              <a:gd name="connsiteX1" fmla="*/ 3114199 w 6228217"/>
              <a:gd name="connsiteY1" fmla="*/ 0 h 5952241"/>
              <a:gd name="connsiteX2" fmla="*/ 6228199 w 6228217"/>
              <a:gd name="connsiteY2" fmla="*/ 3114000 h 5952241"/>
              <a:gd name="connsiteX3" fmla="*/ 4476649 w 6228217"/>
              <a:gd name="connsiteY3" fmla="*/ 5952241 h 5952241"/>
              <a:gd name="connsiteX4" fmla="*/ 4481338 w 6228217"/>
              <a:gd name="connsiteY4" fmla="*/ 4147888 h 5952241"/>
              <a:gd name="connsiteX5" fmla="*/ 4391670 w 6228217"/>
              <a:gd name="connsiteY5" fmla="*/ 3968895 h 5952241"/>
              <a:gd name="connsiteX6" fmla="*/ 194243 w 6228217"/>
              <a:gd name="connsiteY6" fmla="*/ 3968154 h 5952241"/>
              <a:gd name="connsiteX7" fmla="*/ 126914 w 6228217"/>
              <a:gd name="connsiteY7" fmla="*/ 3990835 h 5952241"/>
              <a:gd name="connsiteX8" fmla="*/ 199 w 6228217"/>
              <a:gd name="connsiteY8" fmla="*/ 3114000 h 5952241"/>
              <a:gd name="connsiteX0" fmla="*/ 199 w 6228216"/>
              <a:gd name="connsiteY0" fmla="*/ 3114000 h 5977146"/>
              <a:gd name="connsiteX1" fmla="*/ 3114199 w 6228216"/>
              <a:gd name="connsiteY1" fmla="*/ 0 h 5977146"/>
              <a:gd name="connsiteX2" fmla="*/ 6228199 w 6228216"/>
              <a:gd name="connsiteY2" fmla="*/ 3114000 h 5977146"/>
              <a:gd name="connsiteX3" fmla="*/ 4469533 w 6228216"/>
              <a:gd name="connsiteY3" fmla="*/ 5977146 h 5977146"/>
              <a:gd name="connsiteX4" fmla="*/ 4481338 w 6228216"/>
              <a:gd name="connsiteY4" fmla="*/ 4147888 h 5977146"/>
              <a:gd name="connsiteX5" fmla="*/ 4391670 w 6228216"/>
              <a:gd name="connsiteY5" fmla="*/ 3968895 h 5977146"/>
              <a:gd name="connsiteX6" fmla="*/ 194243 w 6228216"/>
              <a:gd name="connsiteY6" fmla="*/ 3968154 h 5977146"/>
              <a:gd name="connsiteX7" fmla="*/ 126914 w 6228216"/>
              <a:gd name="connsiteY7" fmla="*/ 3990835 h 5977146"/>
              <a:gd name="connsiteX8" fmla="*/ 199 w 6228216"/>
              <a:gd name="connsiteY8" fmla="*/ 3114000 h 5977146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5"/>
              <a:gd name="connsiteY0" fmla="*/ 3114000 h 5927335"/>
              <a:gd name="connsiteX1" fmla="*/ 3114199 w 6228215"/>
              <a:gd name="connsiteY1" fmla="*/ 0 h 5927335"/>
              <a:gd name="connsiteX2" fmla="*/ 6228199 w 6228215"/>
              <a:gd name="connsiteY2" fmla="*/ 3114000 h 5927335"/>
              <a:gd name="connsiteX3" fmla="*/ 4473091 w 6228215"/>
              <a:gd name="connsiteY3" fmla="*/ 5927335 h 5927335"/>
              <a:gd name="connsiteX4" fmla="*/ 4481338 w 6228215"/>
              <a:gd name="connsiteY4" fmla="*/ 4147888 h 5927335"/>
              <a:gd name="connsiteX5" fmla="*/ 4391670 w 6228215"/>
              <a:gd name="connsiteY5" fmla="*/ 3968895 h 5927335"/>
              <a:gd name="connsiteX6" fmla="*/ 194243 w 6228215"/>
              <a:gd name="connsiteY6" fmla="*/ 3968154 h 5927335"/>
              <a:gd name="connsiteX7" fmla="*/ 126914 w 6228215"/>
              <a:gd name="connsiteY7" fmla="*/ 3990835 h 5927335"/>
              <a:gd name="connsiteX8" fmla="*/ 199 w 6228215"/>
              <a:gd name="connsiteY8" fmla="*/ 3114000 h 5927335"/>
              <a:gd name="connsiteX0" fmla="*/ 199 w 6228216"/>
              <a:gd name="connsiteY0" fmla="*/ 3114000 h 5911748"/>
              <a:gd name="connsiteX1" fmla="*/ 3114199 w 6228216"/>
              <a:gd name="connsiteY1" fmla="*/ 0 h 5911748"/>
              <a:gd name="connsiteX2" fmla="*/ 6228199 w 6228216"/>
              <a:gd name="connsiteY2" fmla="*/ 3114000 h 5911748"/>
              <a:gd name="connsiteX3" fmla="*/ 4483482 w 6228216"/>
              <a:gd name="connsiteY3" fmla="*/ 5911748 h 5911748"/>
              <a:gd name="connsiteX4" fmla="*/ 4481338 w 6228216"/>
              <a:gd name="connsiteY4" fmla="*/ 4147888 h 5911748"/>
              <a:gd name="connsiteX5" fmla="*/ 4391670 w 6228216"/>
              <a:gd name="connsiteY5" fmla="*/ 3968895 h 5911748"/>
              <a:gd name="connsiteX6" fmla="*/ 194243 w 6228216"/>
              <a:gd name="connsiteY6" fmla="*/ 3968154 h 5911748"/>
              <a:gd name="connsiteX7" fmla="*/ 126914 w 6228216"/>
              <a:gd name="connsiteY7" fmla="*/ 3990835 h 5911748"/>
              <a:gd name="connsiteX8" fmla="*/ 199 w 6228216"/>
              <a:gd name="connsiteY8" fmla="*/ 3114000 h 5911748"/>
              <a:gd name="connsiteX0" fmla="*/ 199 w 6228216"/>
              <a:gd name="connsiteY0" fmla="*/ 3114000 h 5896162"/>
              <a:gd name="connsiteX1" fmla="*/ 3114199 w 6228216"/>
              <a:gd name="connsiteY1" fmla="*/ 0 h 5896162"/>
              <a:gd name="connsiteX2" fmla="*/ 6228199 w 6228216"/>
              <a:gd name="connsiteY2" fmla="*/ 3114000 h 5896162"/>
              <a:gd name="connsiteX3" fmla="*/ 4483482 w 6228216"/>
              <a:gd name="connsiteY3" fmla="*/ 5896162 h 5896162"/>
              <a:gd name="connsiteX4" fmla="*/ 4481338 w 6228216"/>
              <a:gd name="connsiteY4" fmla="*/ 4147888 h 5896162"/>
              <a:gd name="connsiteX5" fmla="*/ 4391670 w 6228216"/>
              <a:gd name="connsiteY5" fmla="*/ 3968895 h 5896162"/>
              <a:gd name="connsiteX6" fmla="*/ 194243 w 6228216"/>
              <a:gd name="connsiteY6" fmla="*/ 3968154 h 5896162"/>
              <a:gd name="connsiteX7" fmla="*/ 126914 w 6228216"/>
              <a:gd name="connsiteY7" fmla="*/ 3990835 h 5896162"/>
              <a:gd name="connsiteX8" fmla="*/ 199 w 6228216"/>
              <a:gd name="connsiteY8" fmla="*/ 3114000 h 5896162"/>
              <a:gd name="connsiteX0" fmla="*/ 199 w 6228216"/>
              <a:gd name="connsiteY0" fmla="*/ 3114000 h 5880575"/>
              <a:gd name="connsiteX1" fmla="*/ 3114199 w 6228216"/>
              <a:gd name="connsiteY1" fmla="*/ 0 h 5880575"/>
              <a:gd name="connsiteX2" fmla="*/ 6228199 w 6228216"/>
              <a:gd name="connsiteY2" fmla="*/ 3114000 h 5880575"/>
              <a:gd name="connsiteX3" fmla="*/ 4488677 w 6228216"/>
              <a:gd name="connsiteY3" fmla="*/ 5880575 h 5880575"/>
              <a:gd name="connsiteX4" fmla="*/ 4481338 w 6228216"/>
              <a:gd name="connsiteY4" fmla="*/ 4147888 h 5880575"/>
              <a:gd name="connsiteX5" fmla="*/ 4391670 w 6228216"/>
              <a:gd name="connsiteY5" fmla="*/ 3968895 h 5880575"/>
              <a:gd name="connsiteX6" fmla="*/ 194243 w 6228216"/>
              <a:gd name="connsiteY6" fmla="*/ 3968154 h 5880575"/>
              <a:gd name="connsiteX7" fmla="*/ 126914 w 6228216"/>
              <a:gd name="connsiteY7" fmla="*/ 3990835 h 5880575"/>
              <a:gd name="connsiteX8" fmla="*/ 199 w 6228216"/>
              <a:gd name="connsiteY8" fmla="*/ 3114000 h 5880575"/>
              <a:gd name="connsiteX0" fmla="*/ 199 w 6228216"/>
              <a:gd name="connsiteY0" fmla="*/ 3114000 h 5890966"/>
              <a:gd name="connsiteX1" fmla="*/ 3114199 w 6228216"/>
              <a:gd name="connsiteY1" fmla="*/ 0 h 5890966"/>
              <a:gd name="connsiteX2" fmla="*/ 6228199 w 6228216"/>
              <a:gd name="connsiteY2" fmla="*/ 3114000 h 5890966"/>
              <a:gd name="connsiteX3" fmla="*/ 4483481 w 6228216"/>
              <a:gd name="connsiteY3" fmla="*/ 5890966 h 5890966"/>
              <a:gd name="connsiteX4" fmla="*/ 4481338 w 6228216"/>
              <a:gd name="connsiteY4" fmla="*/ 4147888 h 5890966"/>
              <a:gd name="connsiteX5" fmla="*/ 4391670 w 6228216"/>
              <a:gd name="connsiteY5" fmla="*/ 3968895 h 5890966"/>
              <a:gd name="connsiteX6" fmla="*/ 194243 w 6228216"/>
              <a:gd name="connsiteY6" fmla="*/ 3968154 h 5890966"/>
              <a:gd name="connsiteX7" fmla="*/ 126914 w 6228216"/>
              <a:gd name="connsiteY7" fmla="*/ 3990835 h 5890966"/>
              <a:gd name="connsiteX8" fmla="*/ 199 w 6228216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4251 w 6228224"/>
              <a:gd name="connsiteY6" fmla="*/ 3968154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14 w 6228231"/>
              <a:gd name="connsiteY0" fmla="*/ 3114000 h 5890966"/>
              <a:gd name="connsiteX1" fmla="*/ 3114214 w 6228231"/>
              <a:gd name="connsiteY1" fmla="*/ 0 h 5890966"/>
              <a:gd name="connsiteX2" fmla="*/ 6228214 w 6228231"/>
              <a:gd name="connsiteY2" fmla="*/ 3114000 h 5890966"/>
              <a:gd name="connsiteX3" fmla="*/ 4483496 w 6228231"/>
              <a:gd name="connsiteY3" fmla="*/ 5890966 h 5890966"/>
              <a:gd name="connsiteX4" fmla="*/ 4481353 w 6228231"/>
              <a:gd name="connsiteY4" fmla="*/ 4147888 h 5890966"/>
              <a:gd name="connsiteX5" fmla="*/ 4370903 w 6228231"/>
              <a:gd name="connsiteY5" fmla="*/ 3953309 h 5890966"/>
              <a:gd name="connsiteX6" fmla="*/ 227024 w 6228231"/>
              <a:gd name="connsiteY6" fmla="*/ 3938182 h 5890966"/>
              <a:gd name="connsiteX7" fmla="*/ 117138 w 6228231"/>
              <a:gd name="connsiteY7" fmla="*/ 3956268 h 5890966"/>
              <a:gd name="connsiteX8" fmla="*/ 214 w 6228231"/>
              <a:gd name="connsiteY8" fmla="*/ 3114000 h 5890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28231" h="5890966">
                <a:moveTo>
                  <a:pt x="214" y="3114000"/>
                </a:moveTo>
                <a:cubicBezTo>
                  <a:pt x="-4330" y="1411998"/>
                  <a:pt x="1394399" y="0"/>
                  <a:pt x="3114214" y="0"/>
                </a:cubicBezTo>
                <a:cubicBezTo>
                  <a:pt x="4834029" y="0"/>
                  <a:pt x="6228009" y="1324528"/>
                  <a:pt x="6228214" y="3114000"/>
                </a:cubicBezTo>
                <a:cubicBezTo>
                  <a:pt x="6232591" y="4448745"/>
                  <a:pt x="5391347" y="5466913"/>
                  <a:pt x="4483496" y="5890966"/>
                </a:cubicBezTo>
                <a:cubicBezTo>
                  <a:pt x="4470286" y="5884723"/>
                  <a:pt x="4490830" y="4173263"/>
                  <a:pt x="4481353" y="4147888"/>
                </a:cubicBezTo>
                <a:cubicBezTo>
                  <a:pt x="4476337" y="4153536"/>
                  <a:pt x="4500847" y="3989338"/>
                  <a:pt x="4370903" y="3953309"/>
                </a:cubicBezTo>
                <a:lnTo>
                  <a:pt x="227024" y="3938182"/>
                </a:lnTo>
                <a:cubicBezTo>
                  <a:pt x="229896" y="3935584"/>
                  <a:pt x="121453" y="3950046"/>
                  <a:pt x="117138" y="3956268"/>
                </a:cubicBezTo>
                <a:cubicBezTo>
                  <a:pt x="115621" y="3943562"/>
                  <a:pt x="-5779" y="3527224"/>
                  <a:pt x="214" y="3114000"/>
                </a:cubicBezTo>
                <a:close/>
              </a:path>
            </a:pathLst>
          </a:custGeom>
        </p:spPr>
        <p:txBody>
          <a:bodyPr/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endParaRPr lang="pt-BR"/>
          </a:p>
          <a:p>
            <a:r>
              <a:rPr lang="pt-BR"/>
              <a:t>Imagem</a:t>
            </a:r>
            <a:br>
              <a:rPr lang="pt-BR"/>
            </a:br>
            <a:r>
              <a:rPr lang="pt-BR"/>
              <a:t>(opcional)</a:t>
            </a:r>
          </a:p>
        </p:txBody>
      </p:sp>
      <p:sp>
        <p:nvSpPr>
          <p:cNvPr id="45" name="Espaço Reservado para Texto 44">
            <a:extLst>
              <a:ext uri="{FF2B5EF4-FFF2-40B4-BE49-F238E27FC236}">
                <a16:creationId xmlns:a16="http://schemas.microsoft.com/office/drawing/2014/main" id="{06E30179-074A-9B58-6298-4663401723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38366" y="1329766"/>
            <a:ext cx="3385184" cy="1534684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lang="pt-BR" sz="1200" b="0" i="0" u="none" strike="noStrike" kern="1200" cap="none" dirty="0" smtClean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Freeform: Shape 24">
            <a:extLst>
              <a:ext uri="{FF2B5EF4-FFF2-40B4-BE49-F238E27FC236}">
                <a16:creationId xmlns:a16="http://schemas.microsoft.com/office/drawing/2014/main" id="{FD415740-21AF-903C-1A5A-37F7E5CC6A3C}"/>
              </a:ext>
            </a:extLst>
          </p:cNvPr>
          <p:cNvSpPr/>
          <p:nvPr userDrawn="1"/>
        </p:nvSpPr>
        <p:spPr>
          <a:xfrm>
            <a:off x="2" y="3886414"/>
            <a:ext cx="2848573" cy="2965721"/>
          </a:xfrm>
          <a:custGeom>
            <a:avLst/>
            <a:gdLst>
              <a:gd name="connsiteX0" fmla="*/ 1162912 w 2848573"/>
              <a:gd name="connsiteY0" fmla="*/ 0 h 2965721"/>
              <a:gd name="connsiteX1" fmla="*/ 2848573 w 2848573"/>
              <a:gd name="connsiteY1" fmla="*/ 1685661 h 2965721"/>
              <a:gd name="connsiteX2" fmla="*/ 2354855 w 2848573"/>
              <a:gd name="connsiteY2" fmla="*/ 2877604 h 2965721"/>
              <a:gd name="connsiteX3" fmla="*/ 2257901 w 2848573"/>
              <a:gd name="connsiteY3" fmla="*/ 2965721 h 2965721"/>
              <a:gd name="connsiteX4" fmla="*/ 67924 w 2848573"/>
              <a:gd name="connsiteY4" fmla="*/ 2965721 h 2965721"/>
              <a:gd name="connsiteX5" fmla="*/ 0 w 2848573"/>
              <a:gd name="connsiteY5" fmla="*/ 2903988 h 2965721"/>
              <a:gd name="connsiteX6" fmla="*/ 0 w 2848573"/>
              <a:gd name="connsiteY6" fmla="*/ 467334 h 2965721"/>
              <a:gd name="connsiteX7" fmla="*/ 90675 w 2848573"/>
              <a:gd name="connsiteY7" fmla="*/ 384923 h 2965721"/>
              <a:gd name="connsiteX8" fmla="*/ 1162912 w 2848573"/>
              <a:gd name="connsiteY8" fmla="*/ 0 h 296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48573" h="2965721">
                <a:moveTo>
                  <a:pt x="1162912" y="0"/>
                </a:moveTo>
                <a:cubicBezTo>
                  <a:pt x="2093877" y="0"/>
                  <a:pt x="2848573" y="754696"/>
                  <a:pt x="2848573" y="1685661"/>
                </a:cubicBezTo>
                <a:cubicBezTo>
                  <a:pt x="2848573" y="2151144"/>
                  <a:pt x="2659899" y="2572559"/>
                  <a:pt x="2354855" y="2877604"/>
                </a:cubicBezTo>
                <a:lnTo>
                  <a:pt x="2257901" y="2965721"/>
                </a:lnTo>
                <a:lnTo>
                  <a:pt x="67924" y="2965721"/>
                </a:lnTo>
                <a:lnTo>
                  <a:pt x="0" y="2903988"/>
                </a:lnTo>
                <a:lnTo>
                  <a:pt x="0" y="467334"/>
                </a:lnTo>
                <a:lnTo>
                  <a:pt x="90675" y="384923"/>
                </a:lnTo>
                <a:cubicBezTo>
                  <a:pt x="382057" y="144454"/>
                  <a:pt x="755615" y="0"/>
                  <a:pt x="1162912" y="0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8" name="Espaço Reservado para Imagem 27">
            <a:extLst>
              <a:ext uri="{FF2B5EF4-FFF2-40B4-BE49-F238E27FC236}">
                <a16:creationId xmlns:a16="http://schemas.microsoft.com/office/drawing/2014/main" id="{548B2331-2676-10C2-7E01-D10F6FB4AAA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81687" y="995363"/>
            <a:ext cx="793750" cy="793750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38" name="Título">
            <a:extLst>
              <a:ext uri="{FF2B5EF4-FFF2-40B4-BE49-F238E27FC236}">
                <a16:creationId xmlns:a16="http://schemas.microsoft.com/office/drawing/2014/main" id="{ADB15B2B-2001-9E64-8B66-5FAC0E2E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3244" y="1270707"/>
            <a:ext cx="4158456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0" name="Espaço Reservado para Texto 39">
            <a:extLst>
              <a:ext uri="{FF2B5EF4-FFF2-40B4-BE49-F238E27FC236}">
                <a16:creationId xmlns:a16="http://schemas.microsoft.com/office/drawing/2014/main" id="{A1760A25-CD4E-1960-08EE-258535BF93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23244" y="926629"/>
            <a:ext cx="4180096" cy="323211"/>
          </a:xfrm>
        </p:spPr>
        <p:txBody>
          <a:bodyPr lIns="126000">
            <a:noAutofit/>
          </a:bodyPr>
          <a:lstStyle>
            <a:lvl1pPr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8" name="Rectangle: Rounded Corners 9">
            <a:extLst>
              <a:ext uri="{FF2B5EF4-FFF2-40B4-BE49-F238E27FC236}">
                <a16:creationId xmlns:a16="http://schemas.microsoft.com/office/drawing/2014/main" id="{19FBD3DF-538E-7884-58FD-04DC57DB7E80}"/>
              </a:ext>
            </a:extLst>
          </p:cNvPr>
          <p:cNvSpPr/>
          <p:nvPr userDrawn="1"/>
        </p:nvSpPr>
        <p:spPr>
          <a:xfrm>
            <a:off x="1568450" y="3571620"/>
            <a:ext cx="4434893" cy="2405063"/>
          </a:xfrm>
          <a:prstGeom prst="roundRect">
            <a:avLst>
              <a:gd name="adj" fmla="val 6259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9" name="Rectangle: Rounded Corners 10">
            <a:extLst>
              <a:ext uri="{FF2B5EF4-FFF2-40B4-BE49-F238E27FC236}">
                <a16:creationId xmlns:a16="http://schemas.microsoft.com/office/drawing/2014/main" id="{AE95629A-85FB-D0D9-6F6F-A142203545A5}"/>
              </a:ext>
            </a:extLst>
          </p:cNvPr>
          <p:cNvSpPr/>
          <p:nvPr userDrawn="1"/>
        </p:nvSpPr>
        <p:spPr>
          <a:xfrm>
            <a:off x="6222183" y="3545643"/>
            <a:ext cx="4435200" cy="2431040"/>
          </a:xfrm>
          <a:custGeom>
            <a:avLst/>
            <a:gdLst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84667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79472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53494 w 4435200"/>
              <a:gd name="connsiteY2" fmla="*/ 10391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95058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315839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10391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5196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60924 h 2415454"/>
              <a:gd name="connsiteX1" fmla="*/ 150533 w 4435200"/>
              <a:gd name="connsiteY1" fmla="*/ 5195 h 2415454"/>
              <a:gd name="connsiteX2" fmla="*/ 4321035 w 4435200"/>
              <a:gd name="connsiteY2" fmla="*/ 0 h 2415454"/>
              <a:gd name="connsiteX3" fmla="*/ 4435200 w 4435200"/>
              <a:gd name="connsiteY3" fmla="*/ 160924 h 2415454"/>
              <a:gd name="connsiteX4" fmla="*/ 4435200 w 4435200"/>
              <a:gd name="connsiteY4" fmla="*/ 2264921 h 2415454"/>
              <a:gd name="connsiteX5" fmla="*/ 4284667 w 4435200"/>
              <a:gd name="connsiteY5" fmla="*/ 2415454 h 2415454"/>
              <a:gd name="connsiteX6" fmla="*/ 150533 w 4435200"/>
              <a:gd name="connsiteY6" fmla="*/ 2415454 h 2415454"/>
              <a:gd name="connsiteX7" fmla="*/ 0 w 4435200"/>
              <a:gd name="connsiteY7" fmla="*/ 2264921 h 2415454"/>
              <a:gd name="connsiteX8" fmla="*/ 0 w 4435200"/>
              <a:gd name="connsiteY8" fmla="*/ 160924 h 2415454"/>
              <a:gd name="connsiteX0" fmla="*/ 0 w 4435200"/>
              <a:gd name="connsiteY0" fmla="*/ 176510 h 2431040"/>
              <a:gd name="connsiteX1" fmla="*/ 155729 w 4435200"/>
              <a:gd name="connsiteY1" fmla="*/ 0 h 2431040"/>
              <a:gd name="connsiteX2" fmla="*/ 4321035 w 4435200"/>
              <a:gd name="connsiteY2" fmla="*/ 15586 h 2431040"/>
              <a:gd name="connsiteX3" fmla="*/ 4435200 w 4435200"/>
              <a:gd name="connsiteY3" fmla="*/ 176510 h 2431040"/>
              <a:gd name="connsiteX4" fmla="*/ 4435200 w 4435200"/>
              <a:gd name="connsiteY4" fmla="*/ 2280507 h 2431040"/>
              <a:gd name="connsiteX5" fmla="*/ 4284667 w 4435200"/>
              <a:gd name="connsiteY5" fmla="*/ 2431040 h 2431040"/>
              <a:gd name="connsiteX6" fmla="*/ 150533 w 4435200"/>
              <a:gd name="connsiteY6" fmla="*/ 2431040 h 2431040"/>
              <a:gd name="connsiteX7" fmla="*/ 0 w 4435200"/>
              <a:gd name="connsiteY7" fmla="*/ 2280507 h 2431040"/>
              <a:gd name="connsiteX8" fmla="*/ 0 w 4435200"/>
              <a:gd name="connsiteY8" fmla="*/ 176510 h 243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5200" h="2431040">
                <a:moveTo>
                  <a:pt x="0" y="176510"/>
                </a:moveTo>
                <a:cubicBezTo>
                  <a:pt x="0" y="93373"/>
                  <a:pt x="72592" y="0"/>
                  <a:pt x="155729" y="0"/>
                </a:cubicBezTo>
                <a:lnTo>
                  <a:pt x="4321035" y="15586"/>
                </a:lnTo>
                <a:cubicBezTo>
                  <a:pt x="4404172" y="15586"/>
                  <a:pt x="4435200" y="93373"/>
                  <a:pt x="4435200" y="176510"/>
                </a:cubicBezTo>
                <a:lnTo>
                  <a:pt x="4435200" y="2280507"/>
                </a:lnTo>
                <a:cubicBezTo>
                  <a:pt x="4435200" y="2363644"/>
                  <a:pt x="4367804" y="2431040"/>
                  <a:pt x="4284667" y="2431040"/>
                </a:cubicBezTo>
                <a:lnTo>
                  <a:pt x="150533" y="2431040"/>
                </a:lnTo>
                <a:cubicBezTo>
                  <a:pt x="67396" y="2431040"/>
                  <a:pt x="0" y="2363644"/>
                  <a:pt x="0" y="2280507"/>
                </a:cubicBezTo>
                <a:lnTo>
                  <a:pt x="0" y="1765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25" name="Espaço Reservado para Texto 24">
            <a:extLst>
              <a:ext uri="{FF2B5EF4-FFF2-40B4-BE49-F238E27FC236}">
                <a16:creationId xmlns:a16="http://schemas.microsoft.com/office/drawing/2014/main" id="{F23AF8C6-F807-A43D-E470-FC73BC02A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338" y="2698751"/>
            <a:ext cx="1949844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0" name="Espaço Reservado para Texto 29">
            <a:extLst>
              <a:ext uri="{FF2B5EF4-FFF2-40B4-BE49-F238E27FC236}">
                <a16:creationId xmlns:a16="http://schemas.microsoft.com/office/drawing/2014/main" id="{9D491E22-92EA-618D-BAF8-776849CE7C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11338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1" name="Espaço Reservado para Texto 29">
            <a:extLst>
              <a:ext uri="{FF2B5EF4-FFF2-40B4-BE49-F238E27FC236}">
                <a16:creationId xmlns:a16="http://schemas.microsoft.com/office/drawing/2014/main" id="{BDD87BC4-5DA3-8DE4-6EB4-09DF200DC5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764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3" name="Espaço Reservado para Texto 32">
            <a:extLst>
              <a:ext uri="{FF2B5EF4-FFF2-40B4-BE49-F238E27FC236}">
                <a16:creationId xmlns:a16="http://schemas.microsoft.com/office/drawing/2014/main" id="{5B90BA16-3647-7EE4-E8E7-A0663719D6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23244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4" name="Espaço Reservado para Texto 32">
            <a:extLst>
              <a:ext uri="{FF2B5EF4-FFF2-40B4-BE49-F238E27FC236}">
                <a16:creationId xmlns:a16="http://schemas.microsoft.com/office/drawing/2014/main" id="{20BD869A-4B19-32B8-B2D1-E173FCFC99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32315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6" name="Espaço Reservado para Imagem 35">
            <a:extLst>
              <a:ext uri="{FF2B5EF4-FFF2-40B4-BE49-F238E27FC236}">
                <a16:creationId xmlns:a16="http://schemas.microsoft.com/office/drawing/2014/main" id="{BDB52A58-E55C-9C98-C52A-346308CB97D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397500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37" name="Espaço Reservado para Imagem 35">
            <a:extLst>
              <a:ext uri="{FF2B5EF4-FFF2-40B4-BE49-F238E27FC236}">
                <a16:creationId xmlns:a16="http://schemas.microsoft.com/office/drawing/2014/main" id="{C1628873-D7CE-181B-53FE-C45F4CA950A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957144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26" name="Espaço Reservado para Texto 24">
            <a:extLst>
              <a:ext uri="{FF2B5EF4-FFF2-40B4-BE49-F238E27FC236}">
                <a16:creationId xmlns:a16="http://schemas.microsoft.com/office/drawing/2014/main" id="{78C5B9BC-23BA-9D40-0EFB-FD4839B9D6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3289" y="2698751"/>
            <a:ext cx="1971675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95C0EA-8668-632B-6E8C-C7C8464EF9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4038" y="2372411"/>
            <a:ext cx="41576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35009731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16490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>
            <a:extLst>
              <a:ext uri="{FF2B5EF4-FFF2-40B4-BE49-F238E27FC236}">
                <a16:creationId xmlns:a16="http://schemas.microsoft.com/office/drawing/2014/main" id="{2C50B055-D4D1-8B28-58F6-A4E7EE06C736}"/>
              </a:ext>
            </a:extLst>
          </p:cNvPr>
          <p:cNvSpPr/>
          <p:nvPr userDrawn="1"/>
        </p:nvSpPr>
        <p:spPr>
          <a:xfrm>
            <a:off x="9740900" y="4254388"/>
            <a:ext cx="3476175" cy="3476175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68477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1092580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45861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11338" y="602332"/>
            <a:ext cx="5919787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213" y="865524"/>
            <a:ext cx="5919787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2526167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842E5A5A-7704-2F48-8702-A3E6101A002E}"/>
              </a:ext>
            </a:extLst>
          </p:cNvPr>
          <p:cNvSpPr/>
          <p:nvPr userDrawn="1"/>
        </p:nvSpPr>
        <p:spPr>
          <a:xfrm>
            <a:off x="1828046" y="2954787"/>
            <a:ext cx="2952000" cy="360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spaço Reservado para Texto 3">
            <a:extLst>
              <a:ext uri="{FF2B5EF4-FFF2-40B4-BE49-F238E27FC236}">
                <a16:creationId xmlns:a16="http://schemas.microsoft.com/office/drawing/2014/main" id="{CDF90CEE-BDF2-3D8C-A60C-9E9609E82BD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5882" y="1920603"/>
            <a:ext cx="59229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9F7F299-B9F4-BC9F-95FF-5ED073B643B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824038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anchor="t" anchorCtr="0">
            <a:no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lang="pt-BR" sz="1300" b="0" i="0" u="none" strike="noStrike" cap="none" dirty="0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0" name="Espaço Reservado para Texto 5">
            <a:extLst>
              <a:ext uri="{FF2B5EF4-FFF2-40B4-BE49-F238E27FC236}">
                <a16:creationId xmlns:a16="http://schemas.microsoft.com/office/drawing/2014/main" id="{79E14420-1845-E853-61FD-FA2963FDC8F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9905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Texto 5">
            <a:extLst>
              <a:ext uri="{FF2B5EF4-FFF2-40B4-BE49-F238E27FC236}">
                <a16:creationId xmlns:a16="http://schemas.microsoft.com/office/drawing/2014/main" id="{913B9138-B8EB-3199-7F11-1E6E66F0F89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2560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5">
            <a:extLst>
              <a:ext uri="{FF2B5EF4-FFF2-40B4-BE49-F238E27FC236}">
                <a16:creationId xmlns:a16="http://schemas.microsoft.com/office/drawing/2014/main" id="{B8F1D9A9-B7F4-BE71-F7ED-0A07DA24A9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824038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19" name="Espaço Reservado para Texto 5">
            <a:extLst>
              <a:ext uri="{FF2B5EF4-FFF2-40B4-BE49-F238E27FC236}">
                <a16:creationId xmlns:a16="http://schemas.microsoft.com/office/drawing/2014/main" id="{980425ED-7FEC-0C8E-25E6-739799A406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09905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20" name="Espaço Reservado para Texto 5">
            <a:extLst>
              <a:ext uri="{FF2B5EF4-FFF2-40B4-BE49-F238E27FC236}">
                <a16:creationId xmlns:a16="http://schemas.microsoft.com/office/drawing/2014/main" id="{C5B6446B-3A90-952C-4B30-11612A5C500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2560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pic>
        <p:nvPicPr>
          <p:cNvPr id="2" name="Imagem 1" descr="Logotipo&#10;&#10;Descrição gerada automaticamente">
            <a:extLst>
              <a:ext uri="{FF2B5EF4-FFF2-40B4-BE49-F238E27FC236}">
                <a16:creationId xmlns:a16="http://schemas.microsoft.com/office/drawing/2014/main" id="{0EC2B83C-9E2E-3F15-9152-6DD23C36ADA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705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3987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tx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44789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427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ayout Personalizad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  <p:sp>
        <p:nvSpPr>
          <p:cNvPr id="19" name="Espaço Reservado para Texto 4">
            <a:extLst>
              <a:ext uri="{FF2B5EF4-FFF2-40B4-BE49-F238E27FC236}">
                <a16:creationId xmlns:a16="http://schemas.microsoft.com/office/drawing/2014/main" id="{4D87E33E-59D6-DAD1-29AD-45184F79D6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593744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14150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655145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5194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194" y="929692"/>
            <a:ext cx="5067325" cy="447676"/>
          </a:xfrm>
        </p:spPr>
        <p:txBody>
          <a:bodyPr anchor="t">
            <a:noAutofit/>
          </a:bodyPr>
          <a:lstStyle>
            <a:lvl1pPr>
              <a:defRPr sz="32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37373" y="2652353"/>
            <a:ext cx="3215912" cy="321591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A49AEE0D-5540-3547-BC5A-EEFF6F6E43A8}"/>
              </a:ext>
            </a:extLst>
          </p:cNvPr>
          <p:cNvSpPr/>
          <p:nvPr userDrawn="1"/>
        </p:nvSpPr>
        <p:spPr>
          <a:xfrm>
            <a:off x="6063916" y="1579387"/>
            <a:ext cx="5362826" cy="5362826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C637D6D3-823D-5CA1-E4DB-1EBD83A6E131}"/>
              </a:ext>
            </a:extLst>
          </p:cNvPr>
          <p:cNvSpPr/>
          <p:nvPr userDrawn="1"/>
        </p:nvSpPr>
        <p:spPr>
          <a:xfrm>
            <a:off x="7111110" y="786063"/>
            <a:ext cx="1600274" cy="1600274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A80B72A2-436E-D9FD-0AF7-648ADA0BB41E}"/>
              </a:ext>
            </a:extLst>
          </p:cNvPr>
          <p:cNvSpPr/>
          <p:nvPr userDrawn="1"/>
        </p:nvSpPr>
        <p:spPr>
          <a:xfrm>
            <a:off x="10338588" y="4967534"/>
            <a:ext cx="1243812" cy="1243812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E9ECFA41-67A9-E4A3-C1EE-58B458E21DE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C78140DF-A908-BA68-B4C7-7132F96883C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28107" y="1003061"/>
            <a:ext cx="1166279" cy="1166279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E0A0048-DD3B-B964-36C4-C7F672FEE75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567923" y="5196870"/>
            <a:ext cx="785141" cy="785141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D0FB1F73-2382-C83E-EE36-306677E91D9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1285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0300" y="1398588"/>
            <a:ext cx="5067325" cy="447676"/>
          </a:xfrm>
        </p:spPr>
        <p:txBody>
          <a:bodyPr anchor="t">
            <a:noAutofit/>
          </a:bodyPr>
          <a:lstStyle>
            <a:lvl1pPr>
              <a:defRPr sz="3000" b="1" spc="-1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3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0A5879CF-3A57-F8C5-5DB7-0DDBF0702F5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8510" y="1335128"/>
            <a:ext cx="1022272" cy="1022272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65263578-CBA1-22C2-E629-7BBA7BA793D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888620" y="-1239748"/>
            <a:ext cx="2726056" cy="2726056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139BA4FB-8314-FDEC-15F0-E08569D9D4C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09642" y="5660305"/>
            <a:ext cx="681514" cy="681514"/>
          </a:xfrm>
          <a:prstGeom prst="rect">
            <a:avLst/>
          </a:prstGeom>
        </p:spPr>
      </p:pic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9568" y="1642454"/>
            <a:ext cx="4061502" cy="406150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  <p:sp>
        <p:nvSpPr>
          <p:cNvPr id="12" name="Espaço Reservado para Imagem 10">
            <a:extLst>
              <a:ext uri="{FF2B5EF4-FFF2-40B4-BE49-F238E27FC236}">
                <a16:creationId xmlns:a16="http://schemas.microsoft.com/office/drawing/2014/main" id="{82EDB949-E31F-851E-8023-22D09B234E0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4745" y="1494631"/>
            <a:ext cx="1190998" cy="1395317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pt-BR"/>
              <a:t>Grafismo</a:t>
            </a:r>
            <a:br>
              <a:rPr lang="pt-BR"/>
            </a:br>
            <a:r>
              <a:rPr lang="pt-BR"/>
              <a:t>(opcional)</a:t>
            </a:r>
          </a:p>
        </p:txBody>
      </p:sp>
    </p:spTree>
    <p:extLst>
      <p:ext uri="{BB962C8B-B14F-4D97-AF65-F5344CB8AC3E}">
        <p14:creationId xmlns:p14="http://schemas.microsoft.com/office/powerpoint/2010/main" val="308260529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6">
            <a:extLst>
              <a:ext uri="{FF2B5EF4-FFF2-40B4-BE49-F238E27FC236}">
                <a16:creationId xmlns:a16="http://schemas.microsoft.com/office/drawing/2014/main" id="{834422CA-98D0-C42F-0C28-8A89C29CEF93}"/>
              </a:ext>
            </a:extLst>
          </p:cNvPr>
          <p:cNvSpPr/>
          <p:nvPr userDrawn="1"/>
        </p:nvSpPr>
        <p:spPr>
          <a:xfrm>
            <a:off x="-279474" y="3770819"/>
            <a:ext cx="2140804" cy="2135020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E1A1E57D-5415-FF9C-C2D4-D14B577592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435006" y="1136650"/>
            <a:ext cx="1712170" cy="1707542"/>
          </a:xfrm>
          <a:prstGeom prst="rect">
            <a:avLst/>
          </a:prstGeom>
        </p:spPr>
      </p:pic>
      <p:sp>
        <p:nvSpPr>
          <p:cNvPr id="5" name="Oval 5">
            <a:extLst>
              <a:ext uri="{FF2B5EF4-FFF2-40B4-BE49-F238E27FC236}">
                <a16:creationId xmlns:a16="http://schemas.microsoft.com/office/drawing/2014/main" id="{A501F69B-8309-1299-025A-632B85EADA6F}"/>
              </a:ext>
            </a:extLst>
          </p:cNvPr>
          <p:cNvSpPr/>
          <p:nvPr userDrawn="1"/>
        </p:nvSpPr>
        <p:spPr>
          <a:xfrm>
            <a:off x="949082" y="1438270"/>
            <a:ext cx="3633370" cy="362354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32846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3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1BE0EC9-7069-DF75-D503-4A156A6520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05358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1163950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D7E6FD-C4DA-F588-E77A-C8DBEDF9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69426D3-4E19-986D-846B-503FE9472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555FC61-4954-E68E-3679-F6B0250BF4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5" name="Imagem 4" descr="Logotipo&#10;&#10;Descrição gerada automaticamente">
            <a:extLst>
              <a:ext uri="{FF2B5EF4-FFF2-40B4-BE49-F238E27FC236}">
                <a16:creationId xmlns:a16="http://schemas.microsoft.com/office/drawing/2014/main" id="{18F92F95-DAA0-5CA6-8223-654C44F6D8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5270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A62373F-9A2F-0755-558D-BC41F23DDA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5" name="Imagem 4" descr="Logotipo&#10;&#10;Descrição gerada automaticamente">
            <a:extLst>
              <a:ext uri="{FF2B5EF4-FFF2-40B4-BE49-F238E27FC236}">
                <a16:creationId xmlns:a16="http://schemas.microsoft.com/office/drawing/2014/main" id="{DC36B712-BEA9-D1F7-495E-CE9EB10743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92565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áfico 20">
            <a:extLst>
              <a:ext uri="{FF2B5EF4-FFF2-40B4-BE49-F238E27FC236}">
                <a16:creationId xmlns:a16="http://schemas.microsoft.com/office/drawing/2014/main" id="{8FC6E60B-071E-D350-BC6F-C0CD9604C70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360999" y="2586446"/>
            <a:ext cx="2101026" cy="2101026"/>
          </a:xfrm>
          <a:prstGeom prst="rect">
            <a:avLst/>
          </a:prstGeom>
        </p:spPr>
      </p:pic>
      <p:sp>
        <p:nvSpPr>
          <p:cNvPr id="22" name="Freeform: Shape 24">
            <a:extLst>
              <a:ext uri="{FF2B5EF4-FFF2-40B4-BE49-F238E27FC236}">
                <a16:creationId xmlns:a16="http://schemas.microsoft.com/office/drawing/2014/main" id="{55589210-86D7-6986-4F2E-47E6E193B276}"/>
              </a:ext>
            </a:extLst>
          </p:cNvPr>
          <p:cNvSpPr/>
          <p:nvPr userDrawn="1"/>
        </p:nvSpPr>
        <p:spPr>
          <a:xfrm>
            <a:off x="1" y="5491163"/>
            <a:ext cx="1460543" cy="1360974"/>
          </a:xfrm>
          <a:custGeom>
            <a:avLst/>
            <a:gdLst>
              <a:gd name="connsiteX0" fmla="*/ 618317 w 1778972"/>
              <a:gd name="connsiteY0" fmla="*/ 0 h 1657695"/>
              <a:gd name="connsiteX1" fmla="*/ 1778972 w 1778972"/>
              <a:gd name="connsiteY1" fmla="*/ 1160655 h 1657695"/>
              <a:gd name="connsiteX2" fmla="*/ 1687762 w 1778972"/>
              <a:gd name="connsiteY2" fmla="*/ 1612435 h 1657695"/>
              <a:gd name="connsiteX3" fmla="*/ 1663196 w 1778972"/>
              <a:gd name="connsiteY3" fmla="*/ 1657695 h 1657695"/>
              <a:gd name="connsiteX4" fmla="*/ 0 w 1778972"/>
              <a:gd name="connsiteY4" fmla="*/ 1657695 h 1657695"/>
              <a:gd name="connsiteX5" fmla="*/ 0 w 1778972"/>
              <a:gd name="connsiteY5" fmla="*/ 179622 h 1657695"/>
              <a:gd name="connsiteX6" fmla="*/ 65080 w 1778972"/>
              <a:gd name="connsiteY6" fmla="*/ 140085 h 1657695"/>
              <a:gd name="connsiteX7" fmla="*/ 618317 w 1778972"/>
              <a:gd name="connsiteY7" fmla="*/ 0 h 1657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78972" h="1657695">
                <a:moveTo>
                  <a:pt x="618317" y="0"/>
                </a:moveTo>
                <a:cubicBezTo>
                  <a:pt x="1259329" y="0"/>
                  <a:pt x="1778972" y="519643"/>
                  <a:pt x="1778972" y="1160655"/>
                </a:cubicBezTo>
                <a:cubicBezTo>
                  <a:pt x="1778972" y="1320908"/>
                  <a:pt x="1746495" y="1473576"/>
                  <a:pt x="1687762" y="1612435"/>
                </a:cubicBezTo>
                <a:lnTo>
                  <a:pt x="1663196" y="1657695"/>
                </a:lnTo>
                <a:lnTo>
                  <a:pt x="0" y="1657695"/>
                </a:lnTo>
                <a:lnTo>
                  <a:pt x="0" y="179622"/>
                </a:lnTo>
                <a:lnTo>
                  <a:pt x="65080" y="140085"/>
                </a:lnTo>
                <a:cubicBezTo>
                  <a:pt x="229537" y="50747"/>
                  <a:pt x="418001" y="0"/>
                  <a:pt x="618317" y="0"/>
                </a:cubicBezTo>
                <a:close/>
              </a:path>
            </a:pathLst>
          </a:cu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4978" y="1142317"/>
            <a:ext cx="5044671" cy="920750"/>
          </a:xfrm>
        </p:spPr>
        <p:txBody>
          <a:bodyPr anchor="t">
            <a:noAutofit/>
          </a:bodyPr>
          <a:lstStyle>
            <a:lvl1pPr algn="ctr"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79700" y="2239906"/>
            <a:ext cx="6832600" cy="951402"/>
          </a:xfrm>
        </p:spPr>
        <p:txBody>
          <a:bodyPr>
            <a:normAutofit/>
          </a:bodyPr>
          <a:lstStyle>
            <a:lvl1pPr marL="0" marR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F65EBF6C-485C-17DD-8EC2-C13A19FCC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7000" y="773884"/>
            <a:ext cx="5067325" cy="354597"/>
          </a:xfrm>
        </p:spPr>
        <p:txBody>
          <a:bodyPr lIns="108000" anchor="b">
            <a:normAutofit/>
          </a:bodyPr>
          <a:lstStyle>
            <a:lvl1pPr algn="ctr">
              <a:lnSpc>
                <a:spcPct val="100000"/>
              </a:lnSpc>
              <a:defRPr sz="1100" b="0" cap="all" spc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7" name="Freeform: Shape 26">
            <a:extLst>
              <a:ext uri="{FF2B5EF4-FFF2-40B4-BE49-F238E27FC236}">
                <a16:creationId xmlns:a16="http://schemas.microsoft.com/office/drawing/2014/main" id="{5E95BECC-9D3F-5219-68DD-89416A67263D}"/>
              </a:ext>
            </a:extLst>
          </p:cNvPr>
          <p:cNvSpPr/>
          <p:nvPr userDrawn="1"/>
        </p:nvSpPr>
        <p:spPr>
          <a:xfrm>
            <a:off x="3360987" y="3762124"/>
            <a:ext cx="4638820" cy="3090011"/>
          </a:xfrm>
          <a:custGeom>
            <a:avLst/>
            <a:gdLst>
              <a:gd name="connsiteX0" fmla="*/ 2319410 w 4638820"/>
              <a:gd name="connsiteY0" fmla="*/ 0 h 3090010"/>
              <a:gd name="connsiteX1" fmla="*/ 4638820 w 4638820"/>
              <a:gd name="connsiteY1" fmla="*/ 2319408 h 3090010"/>
              <a:gd name="connsiteX2" fmla="*/ 4534544 w 4638820"/>
              <a:gd name="connsiteY2" fmla="*/ 3009129 h 3090010"/>
              <a:gd name="connsiteX3" fmla="*/ 4504942 w 4638820"/>
              <a:gd name="connsiteY3" fmla="*/ 3090010 h 3090010"/>
              <a:gd name="connsiteX4" fmla="*/ 133879 w 4638820"/>
              <a:gd name="connsiteY4" fmla="*/ 3090010 h 3090010"/>
              <a:gd name="connsiteX5" fmla="*/ 104276 w 4638820"/>
              <a:gd name="connsiteY5" fmla="*/ 3009129 h 3090010"/>
              <a:gd name="connsiteX6" fmla="*/ 0 w 4638820"/>
              <a:gd name="connsiteY6" fmla="*/ 2319408 h 3090010"/>
              <a:gd name="connsiteX7" fmla="*/ 2319410 w 4638820"/>
              <a:gd name="connsiteY7" fmla="*/ 0 h 309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38820" h="3090010">
                <a:moveTo>
                  <a:pt x="2319410" y="0"/>
                </a:moveTo>
                <a:cubicBezTo>
                  <a:pt x="3600385" y="0"/>
                  <a:pt x="4638820" y="1038434"/>
                  <a:pt x="4638820" y="2319408"/>
                </a:cubicBezTo>
                <a:cubicBezTo>
                  <a:pt x="4638820" y="2559591"/>
                  <a:pt x="4602313" y="2791247"/>
                  <a:pt x="4534544" y="3009129"/>
                </a:cubicBezTo>
                <a:lnTo>
                  <a:pt x="4504942" y="3090010"/>
                </a:lnTo>
                <a:lnTo>
                  <a:pt x="133879" y="3090010"/>
                </a:lnTo>
                <a:lnTo>
                  <a:pt x="104276" y="3009129"/>
                </a:lnTo>
                <a:cubicBezTo>
                  <a:pt x="36508" y="2791247"/>
                  <a:pt x="0" y="2559591"/>
                  <a:pt x="0" y="2319408"/>
                </a:cubicBezTo>
                <a:cubicBezTo>
                  <a:pt x="0" y="1038434"/>
                  <a:pt x="1038435" y="0"/>
                  <a:pt x="231941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9" name="Oval 1">
            <a:extLst>
              <a:ext uri="{FF2B5EF4-FFF2-40B4-BE49-F238E27FC236}">
                <a16:creationId xmlns:a16="http://schemas.microsoft.com/office/drawing/2014/main" id="{0B03E640-E3BB-FB17-5537-862E75ABF681}"/>
              </a:ext>
            </a:extLst>
          </p:cNvPr>
          <p:cNvSpPr/>
          <p:nvPr userDrawn="1"/>
        </p:nvSpPr>
        <p:spPr>
          <a:xfrm>
            <a:off x="1409433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B9DBEBF6-24A2-17AF-03D7-D3A1A2315E42}"/>
              </a:ext>
            </a:extLst>
          </p:cNvPr>
          <p:cNvSpPr/>
          <p:nvPr userDrawn="1"/>
        </p:nvSpPr>
        <p:spPr>
          <a:xfrm>
            <a:off x="4673835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1" name="Oval 9">
            <a:extLst>
              <a:ext uri="{FF2B5EF4-FFF2-40B4-BE49-F238E27FC236}">
                <a16:creationId xmlns:a16="http://schemas.microsoft.com/office/drawing/2014/main" id="{7AFB69F1-EC89-0D88-F743-AB0CCD4E607B}"/>
              </a:ext>
            </a:extLst>
          </p:cNvPr>
          <p:cNvSpPr/>
          <p:nvPr userDrawn="1"/>
        </p:nvSpPr>
        <p:spPr>
          <a:xfrm>
            <a:off x="7998729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8" name="Espaço Reservado para Imagem 27">
            <a:extLst>
              <a:ext uri="{FF2B5EF4-FFF2-40B4-BE49-F238E27FC236}">
                <a16:creationId xmlns:a16="http://schemas.microsoft.com/office/drawing/2014/main" id="{6DE3F598-43D3-1E44-57FB-17EFD4D9254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512131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19" name="Espaço Reservado para Imagem 27">
            <a:extLst>
              <a:ext uri="{FF2B5EF4-FFF2-40B4-BE49-F238E27FC236}">
                <a16:creationId xmlns:a16="http://schemas.microsoft.com/office/drawing/2014/main" id="{E0926438-798E-F72E-EFC9-39EF87CE363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9618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0" name="Espaço Reservado para Imagem 27">
            <a:extLst>
              <a:ext uri="{FF2B5EF4-FFF2-40B4-BE49-F238E27FC236}">
                <a16:creationId xmlns:a16="http://schemas.microsoft.com/office/drawing/2014/main" id="{E07D2C1F-D30D-2277-57A7-14955984FC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0196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5" name="Espaço Reservado para Texto 23">
            <a:extLst>
              <a:ext uri="{FF2B5EF4-FFF2-40B4-BE49-F238E27FC236}">
                <a16:creationId xmlns:a16="http://schemas.microsoft.com/office/drawing/2014/main" id="{10FAB265-50D2-444E-770C-DF530276BE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16450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7" name="Espaço Reservado para Texto 23">
            <a:extLst>
              <a:ext uri="{FF2B5EF4-FFF2-40B4-BE49-F238E27FC236}">
                <a16:creationId xmlns:a16="http://schemas.microsoft.com/office/drawing/2014/main" id="{A60E8CAA-48D5-61E9-C74D-2CCEB3E3A7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6296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9" name="Espaço Reservado para Texto 23">
            <a:extLst>
              <a:ext uri="{FF2B5EF4-FFF2-40B4-BE49-F238E27FC236}">
                <a16:creationId xmlns:a16="http://schemas.microsoft.com/office/drawing/2014/main" id="{73876383-9A46-664A-7697-809108EB46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1409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37" name="Espaço Reservado para Texto 36">
            <a:extLst>
              <a:ext uri="{FF2B5EF4-FFF2-40B4-BE49-F238E27FC236}">
                <a16:creationId xmlns:a16="http://schemas.microsoft.com/office/drawing/2014/main" id="{F5EC3AD8-AE40-5DF3-5734-FF5CE48658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10496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8" name="Espaço Reservado para Texto 36">
            <a:extLst>
              <a:ext uri="{FF2B5EF4-FFF2-40B4-BE49-F238E27FC236}">
                <a16:creationId xmlns:a16="http://schemas.microsoft.com/office/drawing/2014/main" id="{D2DAA205-1F5B-0E76-2E89-35678D12406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78915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9" name="Espaço Reservado para Texto 36">
            <a:extLst>
              <a:ext uri="{FF2B5EF4-FFF2-40B4-BE49-F238E27FC236}">
                <a16:creationId xmlns:a16="http://schemas.microsoft.com/office/drawing/2014/main" id="{EC8C1CAA-95F3-AE44-1F31-7D912F1B861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99247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A71C9253-C6F2-D64E-370F-3FC0B4D6CE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9077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>
            <a:extLst>
              <a:ext uri="{FF2B5EF4-FFF2-40B4-BE49-F238E27FC236}">
                <a16:creationId xmlns:a16="http://schemas.microsoft.com/office/drawing/2014/main" id="{2C50B055-D4D1-8B28-58F6-A4E7EE06C736}"/>
              </a:ext>
            </a:extLst>
          </p:cNvPr>
          <p:cNvSpPr/>
          <p:nvPr userDrawn="1"/>
        </p:nvSpPr>
        <p:spPr>
          <a:xfrm>
            <a:off x="9740900" y="4254388"/>
            <a:ext cx="3476175" cy="3476175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345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28" name="Espaço Reservado para Texto 26">
            <a:extLst>
              <a:ext uri="{FF2B5EF4-FFF2-40B4-BE49-F238E27FC236}">
                <a16:creationId xmlns:a16="http://schemas.microsoft.com/office/drawing/2014/main" id="{48FFDDFF-D427-23B0-5392-54A4F7DC0D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1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5" name="Espaço Reservado para Texto 26">
            <a:extLst>
              <a:ext uri="{FF2B5EF4-FFF2-40B4-BE49-F238E27FC236}">
                <a16:creationId xmlns:a16="http://schemas.microsoft.com/office/drawing/2014/main" id="{434FF1FA-B54B-D941-7236-4AB73CE07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1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6" name="Espaço Reservado para Texto 26">
            <a:extLst>
              <a:ext uri="{FF2B5EF4-FFF2-40B4-BE49-F238E27FC236}">
                <a16:creationId xmlns:a16="http://schemas.microsoft.com/office/drawing/2014/main" id="{94BBE6CA-1C8D-0C0E-98B1-F0C9675FB2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1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7" name="Espaço Reservado para Texto 26">
            <a:extLst>
              <a:ext uri="{FF2B5EF4-FFF2-40B4-BE49-F238E27FC236}">
                <a16:creationId xmlns:a16="http://schemas.microsoft.com/office/drawing/2014/main" id="{802FF599-8D20-63CA-9E5C-86076C60E4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3601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1" name="Espaço Reservado para Texto 26">
            <a:extLst>
              <a:ext uri="{FF2B5EF4-FFF2-40B4-BE49-F238E27FC236}">
                <a16:creationId xmlns:a16="http://schemas.microsoft.com/office/drawing/2014/main" id="{57A346B4-11F9-01EB-210A-4A70946F8E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97850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2" name="Espaço Reservado para Texto 26">
            <a:extLst>
              <a:ext uri="{FF2B5EF4-FFF2-40B4-BE49-F238E27FC236}">
                <a16:creationId xmlns:a16="http://schemas.microsoft.com/office/drawing/2014/main" id="{EC3DE48F-0EBD-2A68-925F-8A0EF020E6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97850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3" name="Espaço Reservado para Texto 26">
            <a:extLst>
              <a:ext uri="{FF2B5EF4-FFF2-40B4-BE49-F238E27FC236}">
                <a16:creationId xmlns:a16="http://schemas.microsoft.com/office/drawing/2014/main" id="{FF173AB6-483B-5C2C-0E35-74B8CFC072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97850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4" name="Espaço Reservado para Texto 26">
            <a:extLst>
              <a:ext uri="{FF2B5EF4-FFF2-40B4-BE49-F238E27FC236}">
                <a16:creationId xmlns:a16="http://schemas.microsoft.com/office/drawing/2014/main" id="{67ADE121-C2B0-51E4-A497-3BB512AA41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7850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2" name="Espaço Reservado para Texto 3">
            <a:extLst>
              <a:ext uri="{FF2B5EF4-FFF2-40B4-BE49-F238E27FC236}">
                <a16:creationId xmlns:a16="http://schemas.microsoft.com/office/drawing/2014/main" id="{79D8D897-387E-A66E-3D4D-C6E8F6F705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70391" y="3235508"/>
            <a:ext cx="3044731" cy="951402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6ABF1A4E-2E86-BEFC-CB5F-DEB96D53FF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55992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ranc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9F790EC3-C462-56AD-2B08-F7FF72508A8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76763" y="1571153"/>
            <a:ext cx="654050" cy="65405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9" name="Espaço Reservado para Imagem 6">
            <a:extLst>
              <a:ext uri="{FF2B5EF4-FFF2-40B4-BE49-F238E27FC236}">
                <a16:creationId xmlns:a16="http://schemas.microsoft.com/office/drawing/2014/main" id="{117F00D3-8A9D-BA5C-B4D6-56F53DABE08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576763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1" name="Espaço Reservado para Imagem 6">
            <a:extLst>
              <a:ext uri="{FF2B5EF4-FFF2-40B4-BE49-F238E27FC236}">
                <a16:creationId xmlns:a16="http://schemas.microsoft.com/office/drawing/2014/main" id="{C63AF8FD-7A31-97C0-140D-F6C27992E08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576763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3" name="Espaço Reservado para Imagem 6">
            <a:extLst>
              <a:ext uri="{FF2B5EF4-FFF2-40B4-BE49-F238E27FC236}">
                <a16:creationId xmlns:a16="http://schemas.microsoft.com/office/drawing/2014/main" id="{F1E03703-2380-F3EB-4FA7-CE7A98BD8A4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576763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8" name="Espaço Reservado para Imagem 6">
            <a:extLst>
              <a:ext uri="{FF2B5EF4-FFF2-40B4-BE49-F238E27FC236}">
                <a16:creationId xmlns:a16="http://schemas.microsoft.com/office/drawing/2014/main" id="{F2561D0A-B2DA-2E1A-6F9F-4F820557716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102600" y="157115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9" name="Espaço Reservado para Imagem 6">
            <a:extLst>
              <a:ext uri="{FF2B5EF4-FFF2-40B4-BE49-F238E27FC236}">
                <a16:creationId xmlns:a16="http://schemas.microsoft.com/office/drawing/2014/main" id="{5FF9A836-CC47-5A5F-1F9F-77925A1F458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02600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0" name="Espaço Reservado para Imagem 6">
            <a:extLst>
              <a:ext uri="{FF2B5EF4-FFF2-40B4-BE49-F238E27FC236}">
                <a16:creationId xmlns:a16="http://schemas.microsoft.com/office/drawing/2014/main" id="{6B2CA7E3-B922-EC4D-43CF-64B5C722AF4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8102600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1" name="Espaço Reservado para Imagem 6">
            <a:extLst>
              <a:ext uri="{FF2B5EF4-FFF2-40B4-BE49-F238E27FC236}">
                <a16:creationId xmlns:a16="http://schemas.microsoft.com/office/drawing/2014/main" id="{59009F60-9F6B-1234-55D4-BBD6C8FA18B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102600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4472662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566866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E8555A5-CA9C-44C0-D421-B213BA420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962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532" imgH="530" progId="TCLayout.ActiveDocument.1">
                  <p:embed/>
                </p:oleObj>
              </mc:Choice>
              <mc:Fallback>
                <p:oleObj name="Slide do think-cell" r:id="rId3" imgW="532" imgH="53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8555A5-CA9C-44C0-D421-B213BA420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663560"/>
            <a:ext cx="9144000" cy="1846403"/>
          </a:xfrm>
        </p:spPr>
        <p:txBody>
          <a:bodyPr vert="horz" anchor="b"/>
          <a:lstStyle>
            <a:lvl1pPr algn="ctr" rtl="0">
              <a:defRPr sz="599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36933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108" indent="0" algn="ctr">
              <a:buNone/>
              <a:defRPr sz="2000"/>
            </a:lvl2pPr>
            <a:lvl3pPr marL="914214" indent="0" algn="ctr">
              <a:buNone/>
              <a:defRPr sz="1800"/>
            </a:lvl3pPr>
            <a:lvl4pPr marL="1371322" indent="0" algn="ctr">
              <a:buNone/>
              <a:defRPr sz="1600"/>
            </a:lvl4pPr>
            <a:lvl5pPr marL="1828429" indent="0" algn="ctr">
              <a:buNone/>
              <a:defRPr sz="1600"/>
            </a:lvl5pPr>
            <a:lvl6pPr marL="2285536" indent="0" algn="ctr">
              <a:buNone/>
              <a:defRPr sz="1600"/>
            </a:lvl6pPr>
            <a:lvl7pPr marL="2742643" indent="0" algn="ctr">
              <a:buNone/>
              <a:defRPr sz="1600"/>
            </a:lvl7pPr>
            <a:lvl8pPr marL="3199751" indent="0" algn="ctr">
              <a:buNone/>
              <a:defRPr sz="1600"/>
            </a:lvl8pPr>
            <a:lvl9pPr marL="3656858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47DBC13-1C4E-4C0D-A7E5-1B3DFF9BDB77}" type="datetimeFigureOut">
              <a:rPr lang="pt-BR" smtClean="0"/>
              <a:pPr/>
              <a:t>16/05/2026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75CA566-0B28-4957-BC96-83CEC6D5E960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7" name="Imagem 6" descr="Forma&#10;&#10;Descrição gerada automaticamente com confiança média">
            <a:extLst>
              <a:ext uri="{FF2B5EF4-FFF2-40B4-BE49-F238E27FC236}">
                <a16:creationId xmlns:a16="http://schemas.microsoft.com/office/drawing/2014/main" id="{6C42CBA3-3FF3-3B97-6246-534609936B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425" y="0"/>
            <a:ext cx="123648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73294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D29E531-7017-455B-9C64-E00A16330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87CAF1C9-139D-4B51-B566-CD1D5C14F6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A87F4EAB-A51A-4A28-BF4C-B68106B505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598576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586580-0C6D-43CF-AD2C-25ADE4B538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AE4E1D4-AB1A-48D1-9A59-F20EE335B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9951704-927B-4A22-8579-F84376718AE5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3" name="Espaço Reservado para Texto 2">
            <a:extLst>
              <a:ext uri="{FF2B5EF4-FFF2-40B4-BE49-F238E27FC236}">
                <a16:creationId xmlns:a16="http://schemas.microsoft.com/office/drawing/2014/main" id="{B66346A9-9466-407E-A0B6-D5718A5A7D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363" y="1701800"/>
            <a:ext cx="4525963" cy="4346575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  <a:latin typeface="+mn-lt"/>
                <a:cs typeface="Calibri" panose="020F0502020204030204" pitchFamily="34" charset="0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84216B22-24C4-4F2C-BD2F-46A234CB2D6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0362" y="1168240"/>
            <a:ext cx="11470959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  <a:cs typeface="Calibri" panose="020F0502020204030204" pitchFamily="34" charset="0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4" name="Espaço Reservado para Tabela 3">
            <a:extLst>
              <a:ext uri="{FF2B5EF4-FFF2-40B4-BE49-F238E27FC236}">
                <a16:creationId xmlns:a16="http://schemas.microsoft.com/office/drawing/2014/main" id="{47C59625-73A2-486F-A6CE-FC9D84F1135D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124451" y="2313677"/>
            <a:ext cx="6706871" cy="3344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pt-BR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E27F2044-D146-4E7F-A726-CAE4551C5D1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8561308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3Grá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586580-0C6D-43CF-AD2C-25ADE4B538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AE4E1D4-AB1A-48D1-9A59-F20EE335B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84216B22-24C4-4F2C-BD2F-46A234CB2D6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1951" y="1168240"/>
            <a:ext cx="11469371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62509E98-4BD6-4A16-B0BF-F4B4E2476614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361951" y="5999641"/>
            <a:ext cx="11469371" cy="270771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0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Espaço Reservado para Gráfico 6">
            <a:extLst>
              <a:ext uri="{FF2B5EF4-FFF2-40B4-BE49-F238E27FC236}">
                <a16:creationId xmlns:a16="http://schemas.microsoft.com/office/drawing/2014/main" id="{AF81EC95-7FE1-4430-9F79-3BBD52635D90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61950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5" name="Espaço Reservado para Gráfico 6">
            <a:extLst>
              <a:ext uri="{FF2B5EF4-FFF2-40B4-BE49-F238E27FC236}">
                <a16:creationId xmlns:a16="http://schemas.microsoft.com/office/drawing/2014/main" id="{96782689-F0DD-45AC-83D4-A3B3D71D6991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324351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6" name="Espaço Reservado para Gráfico 6">
            <a:extLst>
              <a:ext uri="{FF2B5EF4-FFF2-40B4-BE49-F238E27FC236}">
                <a16:creationId xmlns:a16="http://schemas.microsoft.com/office/drawing/2014/main" id="{9C47BF1B-F307-4381-8A26-465B43977E4C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8286750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E83232B9-1B44-4B96-8921-9D54279E0E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951" y="1701801"/>
            <a:ext cx="11468100" cy="925353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4C008CA8-BC72-4734-879F-0EA5E93E7B8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4820253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4Grá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:a16="http://schemas.microsoft.com/office/drawing/2014/main" id="{1DCCD3BB-FA21-4B11-AFF6-61AE1D2718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3" name="Espaço Reservado para Número de Slide 5">
            <a:extLst>
              <a:ext uri="{FF2B5EF4-FFF2-40B4-BE49-F238E27FC236}">
                <a16:creationId xmlns:a16="http://schemas.microsoft.com/office/drawing/2014/main" id="{41A2E64A-F015-4BFE-B829-B117F1B2E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8435" y="6405246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02E7469A-30CE-4E01-B02B-947687B9A64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361951" y="5999641"/>
            <a:ext cx="11469371" cy="270771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0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9" name="Espaço Reservado para Gráfico 6">
            <a:extLst>
              <a:ext uri="{FF2B5EF4-FFF2-40B4-BE49-F238E27FC236}">
                <a16:creationId xmlns:a16="http://schemas.microsoft.com/office/drawing/2014/main" id="{C66E46EE-0D83-44ED-AD76-7AC85B5349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61949" y="1167979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0" name="Espaço Reservado para Gráfico 6">
            <a:extLst>
              <a:ext uri="{FF2B5EF4-FFF2-40B4-BE49-F238E27FC236}">
                <a16:creationId xmlns:a16="http://schemas.microsoft.com/office/drawing/2014/main" id="{8B1B5F17-98BE-4E46-A6F1-7B9AF35DFEBD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361949" y="3603783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1" name="Espaço Reservado para Gráfico 6">
            <a:extLst>
              <a:ext uri="{FF2B5EF4-FFF2-40B4-BE49-F238E27FC236}">
                <a16:creationId xmlns:a16="http://schemas.microsoft.com/office/drawing/2014/main" id="{F67E19CF-55C8-45D1-A613-AB78744994C5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334127" y="1167979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2" name="Espaço Reservado para Gráfico 6">
            <a:extLst>
              <a:ext uri="{FF2B5EF4-FFF2-40B4-BE49-F238E27FC236}">
                <a16:creationId xmlns:a16="http://schemas.microsoft.com/office/drawing/2014/main" id="{76DEC8A3-A4DC-4812-829E-727A1CF09493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334127" y="3603783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6AFBEF74-A782-43D6-B196-F820C89864C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6109946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+Tabela-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D29E531-7017-455B-9C64-E00A16330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87CAF1C9-139D-4B51-B566-CD1D5C14F6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Texto 2">
            <a:extLst>
              <a:ext uri="{FF2B5EF4-FFF2-40B4-BE49-F238E27FC236}">
                <a16:creationId xmlns:a16="http://schemas.microsoft.com/office/drawing/2014/main" id="{AB1CE02F-B209-4354-A85F-9BB2B791A1F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1951" y="1168240"/>
            <a:ext cx="8240038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7" name="Espaço Reservado para Texto 2">
            <a:extLst>
              <a:ext uri="{FF2B5EF4-FFF2-40B4-BE49-F238E27FC236}">
                <a16:creationId xmlns:a16="http://schemas.microsoft.com/office/drawing/2014/main" id="{039BEF46-F433-4C5A-B28B-CE5234E33D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951" y="5360460"/>
            <a:ext cx="8239125" cy="897863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8" name="Espaço Reservado para Tabela 7">
            <a:extLst>
              <a:ext uri="{FF2B5EF4-FFF2-40B4-BE49-F238E27FC236}">
                <a16:creationId xmlns:a16="http://schemas.microsoft.com/office/drawing/2014/main" id="{D9F9EDB0-2819-41D8-B9FE-331C05818477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61951" y="1685926"/>
            <a:ext cx="8239125" cy="3571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9" name="Espaço Reservado para Rodapé 4">
            <a:extLst>
              <a:ext uri="{FF2B5EF4-FFF2-40B4-BE49-F238E27FC236}">
                <a16:creationId xmlns:a16="http://schemas.microsoft.com/office/drawing/2014/main" id="{46027ECD-5CB1-4DE1-8A74-7CF7A9400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8860" y="6414770"/>
            <a:ext cx="948267" cy="309880"/>
          </a:xfrm>
          <a:prstGeom prst="rect">
            <a:avLst/>
          </a:prstGeom>
        </p:spPr>
        <p:txBody>
          <a:bodyPr anchor="ctr"/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endParaRPr lang="pt-BR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38F00A95-1D14-4306-97B4-D74DE7A1AA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53476" y="1168401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  <p:sp>
        <p:nvSpPr>
          <p:cNvPr id="10" name="Espaço Reservado para Imagem 2">
            <a:extLst>
              <a:ext uri="{FF2B5EF4-FFF2-40B4-BE49-F238E27FC236}">
                <a16:creationId xmlns:a16="http://schemas.microsoft.com/office/drawing/2014/main" id="{C370A8EA-789E-4600-8390-1668ED0363E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53476" y="2925074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  <p:sp>
        <p:nvSpPr>
          <p:cNvPr id="11" name="Espaço Reservado para Imagem 2">
            <a:extLst>
              <a:ext uri="{FF2B5EF4-FFF2-40B4-BE49-F238E27FC236}">
                <a16:creationId xmlns:a16="http://schemas.microsoft.com/office/drawing/2014/main" id="{017F1FD6-1424-4941-AE88-B1D62046E8A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53476" y="4654948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578547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4269" y="2277546"/>
            <a:ext cx="2999105" cy="175984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30E247F3-918F-42E7-93B3-3BD141EB1FF3}"/>
              </a:ext>
            </a:extLst>
          </p:cNvPr>
          <p:cNvSpPr/>
          <p:nvPr userDrawn="1"/>
        </p:nvSpPr>
        <p:spPr>
          <a:xfrm>
            <a:off x="-600" y="1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F1E7FB4-FF53-4331-B85A-28B64DB8D6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800">
                <a:solidFill>
                  <a:schemeClr val="accent3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8909146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1092580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7206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3C47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b="52125"/>
          <a:stretch>
            <a:fillRect/>
          </a:stretch>
        </p:blipFill>
        <p:spPr>
          <a:xfrm rot="11465643">
            <a:off x="10728079" y="-269222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4269" y="2277546"/>
            <a:ext cx="2999105" cy="175984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6200000">
            <a:off x="6483498" y="816034"/>
            <a:ext cx="1915463" cy="10168468"/>
          </a:xfrm>
          <a:prstGeom prst="rect">
            <a:avLst/>
          </a:prstGeom>
        </p:spPr>
      </p:pic>
      <p:sp>
        <p:nvSpPr>
          <p:cNvPr id="11" name="Espaço Reservado para Texto 2">
            <a:extLst>
              <a:ext uri="{FF2B5EF4-FFF2-40B4-BE49-F238E27FC236}">
                <a16:creationId xmlns:a16="http://schemas.microsoft.com/office/drawing/2014/main" id="{12F6AD0A-6457-4EE9-9B2B-EB7B1BB9ED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Benton Sans Book"/>
              </a:defRPr>
            </a:lvl1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607172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3C47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b="52125"/>
          <a:stretch>
            <a:fillRect/>
          </a:stretch>
        </p:blipFill>
        <p:spPr>
          <a:xfrm rot="11465643">
            <a:off x="10728079" y="-269222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5281182" y="-491085"/>
            <a:ext cx="1915463" cy="12782706"/>
          </a:xfrm>
          <a:prstGeom prst="rect">
            <a:avLst/>
          </a:prstGeom>
        </p:spPr>
      </p:pic>
      <p:sp>
        <p:nvSpPr>
          <p:cNvPr id="11" name="Espaço Reservado para Texto 2">
            <a:extLst>
              <a:ext uri="{FF2B5EF4-FFF2-40B4-BE49-F238E27FC236}">
                <a16:creationId xmlns:a16="http://schemas.microsoft.com/office/drawing/2014/main" id="{12F6AD0A-6457-4EE9-9B2B-EB7B1BB9ED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Benton Sans Book"/>
              </a:defRPr>
            </a:lvl1pPr>
          </a:lstStyle>
          <a:p>
            <a:pPr lvl="0"/>
            <a:endParaRPr lang="pt-BR"/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A0B45A3B-F5C4-419D-A6CD-8532070178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469" y="288972"/>
            <a:ext cx="1467411" cy="861061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FB83016E-12A2-46D9-AAD4-7508AA6B95FD}"/>
              </a:ext>
            </a:extLst>
          </p:cNvPr>
          <p:cNvSpPr/>
          <p:nvPr userDrawn="1"/>
        </p:nvSpPr>
        <p:spPr>
          <a:xfrm>
            <a:off x="-600" y="1"/>
            <a:ext cx="12193200" cy="469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</p:spTree>
    <p:extLst>
      <p:ext uri="{BB962C8B-B14F-4D97-AF65-F5344CB8AC3E}">
        <p14:creationId xmlns:p14="http://schemas.microsoft.com/office/powerpoint/2010/main" val="352956788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94766" y="199765"/>
            <a:ext cx="1196140" cy="70188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30E247F3-918F-42E7-93B3-3BD141EB1FF3}"/>
              </a:ext>
            </a:extLst>
          </p:cNvPr>
          <p:cNvSpPr/>
          <p:nvPr userDrawn="1"/>
        </p:nvSpPr>
        <p:spPr>
          <a:xfrm>
            <a:off x="-600" y="1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</p:spTree>
    <p:extLst>
      <p:ext uri="{BB962C8B-B14F-4D97-AF65-F5344CB8AC3E}">
        <p14:creationId xmlns:p14="http://schemas.microsoft.com/office/powerpoint/2010/main" val="5238977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401405-5E82-4529-9B27-92B31CD15C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1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4" progId="TCLayout.ActiveDocument.1">
                  <p:embed/>
                </p:oleObj>
              </mc:Choice>
              <mc:Fallback>
                <p:oleObj name="Slide do think-cell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401405-5E82-4529-9B27-92B31CD15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>
            <a:extLst>
              <a:ext uri="{FF2B5EF4-FFF2-40B4-BE49-F238E27FC236}">
                <a16:creationId xmlns:a16="http://schemas.microsoft.com/office/drawing/2014/main" id="{E34D2AD8-2621-4736-82D0-3C077BACE79D}"/>
              </a:ext>
            </a:extLst>
          </p:cNvPr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598"/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03E9D59-1D91-4853-AEFA-51E5C533728F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15" name="Gráfico 275">
            <a:extLst>
              <a:ext uri="{FF2B5EF4-FFF2-40B4-BE49-F238E27FC236}">
                <a16:creationId xmlns:a16="http://schemas.microsoft.com/office/drawing/2014/main" id="{EBEC2931-1AE1-4512-9CE0-BB5FCF4F91CA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26" name="Retângulo 25">
            <a:extLst>
              <a:ext uri="{FF2B5EF4-FFF2-40B4-BE49-F238E27FC236}">
                <a16:creationId xmlns:a16="http://schemas.microsoft.com/office/drawing/2014/main" id="{FAAA61C8-8436-4718-A904-7DD3CFD370B1}"/>
              </a:ext>
            </a:extLst>
          </p:cNvPr>
          <p:cNvSpPr/>
          <p:nvPr userDrawn="1"/>
        </p:nvSpPr>
        <p:spPr>
          <a:xfrm>
            <a:off x="-600" y="2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8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B929F35-C2B3-4325-9C0C-91F0D1E44A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00" y="71755"/>
            <a:ext cx="7474260" cy="6786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17822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A969E51-8551-6374-C99C-A7E2D874B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591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308" progId="TCLayout.ActiveDocument.1">
                  <p:embed/>
                </p:oleObj>
              </mc:Choice>
              <mc:Fallback>
                <p:oleObj name="Slide do think-cell" r:id="rId3" imgW="306" imgH="3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969E51-8551-6374-C99C-A7E2D874B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501126"/>
            <a:ext cx="7160897" cy="470424"/>
          </a:xfrm>
        </p:spPr>
        <p:txBody>
          <a:bodyPr vert="horz"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4" name="Espaço Reservado para Texto 11">
            <a:extLst>
              <a:ext uri="{FF2B5EF4-FFF2-40B4-BE49-F238E27FC236}">
                <a16:creationId xmlns:a16="http://schemas.microsoft.com/office/drawing/2014/main" id="{E95E1AA2-3BEE-3B80-AD69-8FC5BD80D7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5750" y="257174"/>
            <a:ext cx="6832600" cy="243951"/>
          </a:xfrm>
        </p:spPr>
        <p:txBody>
          <a:bodyPr lIns="144000" anchor="t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100" b="0" i="0" u="none" strike="noStrike" kern="1200" cap="all" spc="1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2" name="Imagem 1" descr="Logotipo&#10;&#10;Descrição gerada automaticamente">
            <a:extLst>
              <a:ext uri="{FF2B5EF4-FFF2-40B4-BE49-F238E27FC236}">
                <a16:creationId xmlns:a16="http://schemas.microsoft.com/office/drawing/2014/main" id="{FBEC30A2-C429-D4CA-31D1-66D3B7C50C0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73044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Personaliza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7E784451-CC4E-93D5-53EF-156F58A6E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178354"/>
              </p:ext>
            </p:extLst>
          </p:nvPr>
        </p:nvGraphicFramePr>
        <p:xfrm>
          <a:off x="801" y="794"/>
          <a:ext cx="801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5" imgH="426" progId="TCLayout.ActiveDocument.1">
                  <p:embed/>
                </p:oleObj>
              </mc:Choice>
              <mc:Fallback>
                <p:oleObj name="Slide do think-cell" r:id="rId3" imgW="425" imgH="42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7E784451-CC4E-93D5-53EF-156F58A6E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01" y="794"/>
                        <a:ext cx="801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>
            <a:extLst>
              <a:ext uri="{FF2B5EF4-FFF2-40B4-BE49-F238E27FC236}">
                <a16:creationId xmlns:a16="http://schemas.microsoft.com/office/drawing/2014/main" id="{7E253372-8C30-6088-C34D-5A12FD6B829E}"/>
              </a:ext>
            </a:extLst>
          </p:cNvPr>
          <p:cNvSpPr/>
          <p:nvPr userDrawn="1"/>
        </p:nvSpPr>
        <p:spPr>
          <a:xfrm>
            <a:off x="7190090" y="2821"/>
            <a:ext cx="1567052" cy="1004719"/>
          </a:xfrm>
          <a:custGeom>
            <a:avLst/>
            <a:gdLst/>
            <a:ahLst/>
            <a:cxnLst/>
            <a:rect l="l" t="t" r="r" b="b"/>
            <a:pathLst>
              <a:path w="2239009" h="1447800">
                <a:moveTo>
                  <a:pt x="421759" y="0"/>
                </a:moveTo>
                <a:lnTo>
                  <a:pt x="48729" y="0"/>
                </a:lnTo>
                <a:lnTo>
                  <a:pt x="48540" y="577"/>
                </a:lnTo>
                <a:lnTo>
                  <a:pt x="35894" y="45334"/>
                </a:lnTo>
                <a:lnTo>
                  <a:pt x="25078" y="90829"/>
                </a:lnTo>
                <a:lnTo>
                  <a:pt x="16134" y="137021"/>
                </a:lnTo>
                <a:lnTo>
                  <a:pt x="9105" y="183867"/>
                </a:lnTo>
                <a:lnTo>
                  <a:pt x="4031" y="231354"/>
                </a:lnTo>
                <a:lnTo>
                  <a:pt x="966" y="279235"/>
                </a:lnTo>
                <a:lnTo>
                  <a:pt x="0" y="324357"/>
                </a:lnTo>
                <a:lnTo>
                  <a:pt x="27" y="332739"/>
                </a:lnTo>
                <a:lnTo>
                  <a:pt x="958" y="376462"/>
                </a:lnTo>
                <a:lnTo>
                  <a:pt x="4032" y="424482"/>
                </a:lnTo>
                <a:lnTo>
                  <a:pt x="9105" y="471934"/>
                </a:lnTo>
                <a:lnTo>
                  <a:pt x="16134" y="518773"/>
                </a:lnTo>
                <a:lnTo>
                  <a:pt x="25078" y="564959"/>
                </a:lnTo>
                <a:lnTo>
                  <a:pt x="35927" y="610567"/>
                </a:lnTo>
                <a:lnTo>
                  <a:pt x="48540" y="655202"/>
                </a:lnTo>
                <a:lnTo>
                  <a:pt x="62974" y="699175"/>
                </a:lnTo>
                <a:lnTo>
                  <a:pt x="79155" y="742327"/>
                </a:lnTo>
                <a:lnTo>
                  <a:pt x="97040" y="784614"/>
                </a:lnTo>
                <a:lnTo>
                  <a:pt x="116588" y="825995"/>
                </a:lnTo>
                <a:lnTo>
                  <a:pt x="137756" y="866429"/>
                </a:lnTo>
                <a:lnTo>
                  <a:pt x="160502" y="905873"/>
                </a:lnTo>
                <a:lnTo>
                  <a:pt x="184785" y="944285"/>
                </a:lnTo>
                <a:lnTo>
                  <a:pt x="210562" y="981622"/>
                </a:lnTo>
                <a:lnTo>
                  <a:pt x="237791" y="1017844"/>
                </a:lnTo>
                <a:lnTo>
                  <a:pt x="266431" y="1052908"/>
                </a:lnTo>
                <a:lnTo>
                  <a:pt x="296440" y="1086772"/>
                </a:lnTo>
                <a:lnTo>
                  <a:pt x="327774" y="1119393"/>
                </a:lnTo>
                <a:lnTo>
                  <a:pt x="360393" y="1150730"/>
                </a:lnTo>
                <a:lnTo>
                  <a:pt x="394255" y="1180742"/>
                </a:lnTo>
                <a:lnTo>
                  <a:pt x="429317" y="1209385"/>
                </a:lnTo>
                <a:lnTo>
                  <a:pt x="465538" y="1236617"/>
                </a:lnTo>
                <a:lnTo>
                  <a:pt x="502874" y="1262398"/>
                </a:lnTo>
                <a:lnTo>
                  <a:pt x="541286" y="1286684"/>
                </a:lnTo>
                <a:lnTo>
                  <a:pt x="580730" y="1309433"/>
                </a:lnTo>
                <a:lnTo>
                  <a:pt x="621164" y="1330605"/>
                </a:lnTo>
                <a:lnTo>
                  <a:pt x="662547" y="1350155"/>
                </a:lnTo>
                <a:lnTo>
                  <a:pt x="704836" y="1368044"/>
                </a:lnTo>
                <a:lnTo>
                  <a:pt x="747990" y="1384228"/>
                </a:lnTo>
                <a:lnTo>
                  <a:pt x="791966" y="1398665"/>
                </a:lnTo>
                <a:lnTo>
                  <a:pt x="836723" y="1411313"/>
                </a:lnTo>
                <a:lnTo>
                  <a:pt x="882218" y="1422132"/>
                </a:lnTo>
                <a:lnTo>
                  <a:pt x="928410" y="1431077"/>
                </a:lnTo>
                <a:lnTo>
                  <a:pt x="975256" y="1438108"/>
                </a:lnTo>
                <a:lnTo>
                  <a:pt x="1022715" y="1443182"/>
                </a:lnTo>
                <a:lnTo>
                  <a:pt x="1070744" y="1446257"/>
                </a:lnTo>
                <a:lnTo>
                  <a:pt x="1119302" y="1447291"/>
                </a:lnTo>
                <a:lnTo>
                  <a:pt x="1122731" y="1447291"/>
                </a:lnTo>
                <a:lnTo>
                  <a:pt x="1171285" y="1446098"/>
                </a:lnTo>
                <a:lnTo>
                  <a:pt x="1219305" y="1442866"/>
                </a:lnTo>
                <a:lnTo>
                  <a:pt x="1266749" y="1437639"/>
                </a:lnTo>
                <a:lnTo>
                  <a:pt x="1313574" y="1430457"/>
                </a:lnTo>
                <a:lnTo>
                  <a:pt x="1359738" y="1421364"/>
                </a:lnTo>
                <a:lnTo>
                  <a:pt x="1405200" y="1410401"/>
                </a:lnTo>
                <a:lnTo>
                  <a:pt x="1449919" y="1397610"/>
                </a:lnTo>
                <a:lnTo>
                  <a:pt x="1493851" y="1383035"/>
                </a:lnTo>
                <a:lnTo>
                  <a:pt x="1536955" y="1366715"/>
                </a:lnTo>
                <a:lnTo>
                  <a:pt x="1579190" y="1348695"/>
                </a:lnTo>
                <a:lnTo>
                  <a:pt x="1620513" y="1329015"/>
                </a:lnTo>
                <a:lnTo>
                  <a:pt x="1660883" y="1307718"/>
                </a:lnTo>
                <a:lnTo>
                  <a:pt x="1700257" y="1284847"/>
                </a:lnTo>
                <a:lnTo>
                  <a:pt x="1738595" y="1260442"/>
                </a:lnTo>
                <a:lnTo>
                  <a:pt x="1775853" y="1234547"/>
                </a:lnTo>
                <a:lnTo>
                  <a:pt x="1811990" y="1207203"/>
                </a:lnTo>
                <a:lnTo>
                  <a:pt x="1846965" y="1178453"/>
                </a:lnTo>
                <a:lnTo>
                  <a:pt x="1880735" y="1148338"/>
                </a:lnTo>
                <a:lnTo>
                  <a:pt x="1913258" y="1116901"/>
                </a:lnTo>
                <a:lnTo>
                  <a:pt x="1931869" y="1097406"/>
                </a:lnTo>
                <a:lnTo>
                  <a:pt x="1122731" y="1097406"/>
                </a:lnTo>
                <a:lnTo>
                  <a:pt x="1074061" y="1096198"/>
                </a:lnTo>
                <a:lnTo>
                  <a:pt x="1026177" y="1092018"/>
                </a:lnTo>
                <a:lnTo>
                  <a:pt x="979168" y="1084955"/>
                </a:lnTo>
                <a:lnTo>
                  <a:pt x="933126" y="1075099"/>
                </a:lnTo>
                <a:lnTo>
                  <a:pt x="888141" y="1062540"/>
                </a:lnTo>
                <a:lnTo>
                  <a:pt x="844304" y="1047367"/>
                </a:lnTo>
                <a:lnTo>
                  <a:pt x="801705" y="1029668"/>
                </a:lnTo>
                <a:lnTo>
                  <a:pt x="760436" y="1009535"/>
                </a:lnTo>
                <a:lnTo>
                  <a:pt x="720586" y="987056"/>
                </a:lnTo>
                <a:lnTo>
                  <a:pt x="682248" y="962321"/>
                </a:lnTo>
                <a:lnTo>
                  <a:pt x="645510" y="935419"/>
                </a:lnTo>
                <a:lnTo>
                  <a:pt x="610465" y="906440"/>
                </a:lnTo>
                <a:lnTo>
                  <a:pt x="577202" y="875474"/>
                </a:lnTo>
                <a:lnTo>
                  <a:pt x="545813" y="842609"/>
                </a:lnTo>
                <a:lnTo>
                  <a:pt x="516388" y="807935"/>
                </a:lnTo>
                <a:lnTo>
                  <a:pt x="489018" y="771542"/>
                </a:lnTo>
                <a:lnTo>
                  <a:pt x="463793" y="733519"/>
                </a:lnTo>
                <a:lnTo>
                  <a:pt x="440805" y="693956"/>
                </a:lnTo>
                <a:lnTo>
                  <a:pt x="420143" y="652943"/>
                </a:lnTo>
                <a:lnTo>
                  <a:pt x="401857" y="610450"/>
                </a:lnTo>
                <a:lnTo>
                  <a:pt x="386164" y="566920"/>
                </a:lnTo>
                <a:lnTo>
                  <a:pt x="373027" y="522091"/>
                </a:lnTo>
                <a:lnTo>
                  <a:pt x="362580" y="476169"/>
                </a:lnTo>
                <a:lnTo>
                  <a:pt x="354914" y="429243"/>
                </a:lnTo>
                <a:lnTo>
                  <a:pt x="350118" y="381403"/>
                </a:lnTo>
                <a:lnTo>
                  <a:pt x="348285" y="332739"/>
                </a:lnTo>
                <a:lnTo>
                  <a:pt x="349493" y="284070"/>
                </a:lnTo>
                <a:lnTo>
                  <a:pt x="353675" y="236185"/>
                </a:lnTo>
                <a:lnTo>
                  <a:pt x="360740" y="189177"/>
                </a:lnTo>
                <a:lnTo>
                  <a:pt x="370599" y="143135"/>
                </a:lnTo>
                <a:lnTo>
                  <a:pt x="383162" y="98150"/>
                </a:lnTo>
                <a:lnTo>
                  <a:pt x="398340" y="54312"/>
                </a:lnTo>
                <a:lnTo>
                  <a:pt x="416043" y="11714"/>
                </a:lnTo>
                <a:lnTo>
                  <a:pt x="421759" y="0"/>
                </a:lnTo>
                <a:close/>
              </a:path>
              <a:path w="2239009" h="1447800">
                <a:moveTo>
                  <a:pt x="2189813" y="0"/>
                </a:moveTo>
                <a:lnTo>
                  <a:pt x="1815079" y="0"/>
                </a:lnTo>
                <a:lnTo>
                  <a:pt x="1818559" y="7069"/>
                </a:lnTo>
                <a:lnTo>
                  <a:pt x="1836408" y="49609"/>
                </a:lnTo>
                <a:lnTo>
                  <a:pt x="1851736" y="93398"/>
                </a:lnTo>
                <a:lnTo>
                  <a:pt x="1864451" y="138345"/>
                </a:lnTo>
                <a:lnTo>
                  <a:pt x="1874465" y="184361"/>
                </a:lnTo>
                <a:lnTo>
                  <a:pt x="1881688" y="231354"/>
                </a:lnTo>
                <a:lnTo>
                  <a:pt x="1886032" y="279355"/>
                </a:lnTo>
                <a:lnTo>
                  <a:pt x="1887398" y="327913"/>
                </a:lnTo>
                <a:lnTo>
                  <a:pt x="1885887" y="376462"/>
                </a:lnTo>
                <a:lnTo>
                  <a:pt x="1881454" y="424011"/>
                </a:lnTo>
                <a:lnTo>
                  <a:pt x="1874157" y="470782"/>
                </a:lnTo>
                <a:lnTo>
                  <a:pt x="1864095" y="516580"/>
                </a:lnTo>
                <a:lnTo>
                  <a:pt x="1851357" y="561318"/>
                </a:lnTo>
                <a:lnTo>
                  <a:pt x="1836031" y="604906"/>
                </a:lnTo>
                <a:lnTo>
                  <a:pt x="1818207" y="647254"/>
                </a:lnTo>
                <a:lnTo>
                  <a:pt x="1797972" y="688272"/>
                </a:lnTo>
                <a:lnTo>
                  <a:pt x="1775416" y="727872"/>
                </a:lnTo>
                <a:lnTo>
                  <a:pt x="1750627" y="765964"/>
                </a:lnTo>
                <a:lnTo>
                  <a:pt x="1723694" y="802459"/>
                </a:lnTo>
                <a:lnTo>
                  <a:pt x="1694706" y="837267"/>
                </a:lnTo>
                <a:lnTo>
                  <a:pt x="1663751" y="870299"/>
                </a:lnTo>
                <a:lnTo>
                  <a:pt x="1630918" y="901465"/>
                </a:lnTo>
                <a:lnTo>
                  <a:pt x="1596296" y="930676"/>
                </a:lnTo>
                <a:lnTo>
                  <a:pt x="1559973" y="957843"/>
                </a:lnTo>
                <a:lnTo>
                  <a:pt x="1522038" y="982876"/>
                </a:lnTo>
                <a:lnTo>
                  <a:pt x="1482581" y="1005686"/>
                </a:lnTo>
                <a:lnTo>
                  <a:pt x="1441689" y="1026184"/>
                </a:lnTo>
                <a:lnTo>
                  <a:pt x="1399451" y="1044279"/>
                </a:lnTo>
                <a:lnTo>
                  <a:pt x="1355956" y="1059884"/>
                </a:lnTo>
                <a:lnTo>
                  <a:pt x="1311293" y="1072907"/>
                </a:lnTo>
                <a:lnTo>
                  <a:pt x="1265550" y="1083261"/>
                </a:lnTo>
                <a:lnTo>
                  <a:pt x="1218816" y="1090855"/>
                </a:lnTo>
                <a:lnTo>
                  <a:pt x="1171180" y="1095600"/>
                </a:lnTo>
                <a:lnTo>
                  <a:pt x="1122731" y="1097406"/>
                </a:lnTo>
                <a:lnTo>
                  <a:pt x="1931869" y="1097406"/>
                </a:lnTo>
                <a:lnTo>
                  <a:pt x="1974398" y="1050228"/>
                </a:lnTo>
                <a:lnTo>
                  <a:pt x="2002931" y="1015077"/>
                </a:lnTo>
                <a:lnTo>
                  <a:pt x="2030049" y="978771"/>
                </a:lnTo>
                <a:lnTo>
                  <a:pt x="2055712" y="941354"/>
                </a:lnTo>
                <a:lnTo>
                  <a:pt x="2079877" y="902868"/>
                </a:lnTo>
                <a:lnTo>
                  <a:pt x="2102503" y="863353"/>
                </a:lnTo>
                <a:lnTo>
                  <a:pt x="2123547" y="822854"/>
                </a:lnTo>
                <a:lnTo>
                  <a:pt x="2142967" y="781410"/>
                </a:lnTo>
                <a:lnTo>
                  <a:pt x="2160723" y="739066"/>
                </a:lnTo>
                <a:lnTo>
                  <a:pt x="2176771" y="695862"/>
                </a:lnTo>
                <a:lnTo>
                  <a:pt x="2191071" y="651842"/>
                </a:lnTo>
                <a:lnTo>
                  <a:pt x="2203579" y="607046"/>
                </a:lnTo>
                <a:lnTo>
                  <a:pt x="2214293" y="561318"/>
                </a:lnTo>
                <a:lnTo>
                  <a:pt x="2223057" y="515299"/>
                </a:lnTo>
                <a:lnTo>
                  <a:pt x="2229942" y="468431"/>
                </a:lnTo>
                <a:lnTo>
                  <a:pt x="2234869" y="420957"/>
                </a:lnTo>
                <a:lnTo>
                  <a:pt x="2237795" y="372918"/>
                </a:lnTo>
                <a:lnTo>
                  <a:pt x="2238680" y="324357"/>
                </a:lnTo>
                <a:lnTo>
                  <a:pt x="2237491" y="275911"/>
                </a:lnTo>
                <a:lnTo>
                  <a:pt x="2234272" y="227997"/>
                </a:lnTo>
                <a:lnTo>
                  <a:pt x="2229066" y="180655"/>
                </a:lnTo>
                <a:lnTo>
                  <a:pt x="2221914" y="133928"/>
                </a:lnTo>
                <a:lnTo>
                  <a:pt x="2212858" y="87858"/>
                </a:lnTo>
                <a:lnTo>
                  <a:pt x="2201939" y="42485"/>
                </a:lnTo>
                <a:lnTo>
                  <a:pt x="2189813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defTabSz="634548"/>
            <a:endParaRPr sz="1249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DE04FEEE-904B-F42F-8CBB-DEA43F468C2C}"/>
              </a:ext>
            </a:extLst>
          </p:cNvPr>
          <p:cNvSpPr/>
          <p:nvPr userDrawn="1"/>
        </p:nvSpPr>
        <p:spPr>
          <a:xfrm>
            <a:off x="6491487" y="383556"/>
            <a:ext cx="563534" cy="558765"/>
          </a:xfrm>
          <a:custGeom>
            <a:avLst/>
            <a:gdLst/>
            <a:ahLst/>
            <a:cxnLst/>
            <a:rect l="l" t="t" r="r" b="b"/>
            <a:pathLst>
              <a:path w="805179" h="805180">
                <a:moveTo>
                  <a:pt x="402335" y="0"/>
                </a:moveTo>
                <a:lnTo>
                  <a:pt x="355406" y="2706"/>
                </a:lnTo>
                <a:lnTo>
                  <a:pt x="310069" y="10623"/>
                </a:lnTo>
                <a:lnTo>
                  <a:pt x="266626" y="23450"/>
                </a:lnTo>
                <a:lnTo>
                  <a:pt x="225378" y="40885"/>
                </a:lnTo>
                <a:lnTo>
                  <a:pt x="186628" y="62627"/>
                </a:lnTo>
                <a:lnTo>
                  <a:pt x="150676" y="88374"/>
                </a:lnTo>
                <a:lnTo>
                  <a:pt x="117824" y="117824"/>
                </a:lnTo>
                <a:lnTo>
                  <a:pt x="88374" y="150676"/>
                </a:lnTo>
                <a:lnTo>
                  <a:pt x="62627" y="186628"/>
                </a:lnTo>
                <a:lnTo>
                  <a:pt x="40885" y="225378"/>
                </a:lnTo>
                <a:lnTo>
                  <a:pt x="23450" y="266626"/>
                </a:lnTo>
                <a:lnTo>
                  <a:pt x="10623" y="310069"/>
                </a:lnTo>
                <a:lnTo>
                  <a:pt x="2706" y="355406"/>
                </a:lnTo>
                <a:lnTo>
                  <a:pt x="0" y="402335"/>
                </a:lnTo>
                <a:lnTo>
                  <a:pt x="2706" y="449265"/>
                </a:lnTo>
                <a:lnTo>
                  <a:pt x="10623" y="494602"/>
                </a:lnTo>
                <a:lnTo>
                  <a:pt x="23450" y="538045"/>
                </a:lnTo>
                <a:lnTo>
                  <a:pt x="40885" y="579293"/>
                </a:lnTo>
                <a:lnTo>
                  <a:pt x="62627" y="618043"/>
                </a:lnTo>
                <a:lnTo>
                  <a:pt x="88374" y="653995"/>
                </a:lnTo>
                <a:lnTo>
                  <a:pt x="117824" y="686847"/>
                </a:lnTo>
                <a:lnTo>
                  <a:pt x="150676" y="716297"/>
                </a:lnTo>
                <a:lnTo>
                  <a:pt x="186628" y="742044"/>
                </a:lnTo>
                <a:lnTo>
                  <a:pt x="225378" y="763786"/>
                </a:lnTo>
                <a:lnTo>
                  <a:pt x="266626" y="781221"/>
                </a:lnTo>
                <a:lnTo>
                  <a:pt x="310069" y="794048"/>
                </a:lnTo>
                <a:lnTo>
                  <a:pt x="355406" y="801965"/>
                </a:lnTo>
                <a:lnTo>
                  <a:pt x="402335" y="804672"/>
                </a:lnTo>
                <a:lnTo>
                  <a:pt x="449265" y="801965"/>
                </a:lnTo>
                <a:lnTo>
                  <a:pt x="494602" y="794048"/>
                </a:lnTo>
                <a:lnTo>
                  <a:pt x="538045" y="781221"/>
                </a:lnTo>
                <a:lnTo>
                  <a:pt x="579293" y="763786"/>
                </a:lnTo>
                <a:lnTo>
                  <a:pt x="618043" y="742044"/>
                </a:lnTo>
                <a:lnTo>
                  <a:pt x="653995" y="716297"/>
                </a:lnTo>
                <a:lnTo>
                  <a:pt x="686847" y="686847"/>
                </a:lnTo>
                <a:lnTo>
                  <a:pt x="716297" y="653995"/>
                </a:lnTo>
                <a:lnTo>
                  <a:pt x="742044" y="618043"/>
                </a:lnTo>
                <a:lnTo>
                  <a:pt x="763786" y="579293"/>
                </a:lnTo>
                <a:lnTo>
                  <a:pt x="781221" y="538045"/>
                </a:lnTo>
                <a:lnTo>
                  <a:pt x="794048" y="494602"/>
                </a:lnTo>
                <a:lnTo>
                  <a:pt x="801965" y="449265"/>
                </a:lnTo>
                <a:lnTo>
                  <a:pt x="804671" y="402335"/>
                </a:lnTo>
                <a:lnTo>
                  <a:pt x="801965" y="355406"/>
                </a:lnTo>
                <a:lnTo>
                  <a:pt x="794048" y="310069"/>
                </a:lnTo>
                <a:lnTo>
                  <a:pt x="781221" y="266626"/>
                </a:lnTo>
                <a:lnTo>
                  <a:pt x="763786" y="225378"/>
                </a:lnTo>
                <a:lnTo>
                  <a:pt x="742044" y="186628"/>
                </a:lnTo>
                <a:lnTo>
                  <a:pt x="716297" y="150676"/>
                </a:lnTo>
                <a:lnTo>
                  <a:pt x="686847" y="117824"/>
                </a:lnTo>
                <a:lnTo>
                  <a:pt x="653995" y="88374"/>
                </a:lnTo>
                <a:lnTo>
                  <a:pt x="618043" y="62627"/>
                </a:lnTo>
                <a:lnTo>
                  <a:pt x="579293" y="40885"/>
                </a:lnTo>
                <a:lnTo>
                  <a:pt x="538045" y="23450"/>
                </a:lnTo>
                <a:lnTo>
                  <a:pt x="494602" y="10623"/>
                </a:lnTo>
                <a:lnTo>
                  <a:pt x="449265" y="2706"/>
                </a:lnTo>
                <a:lnTo>
                  <a:pt x="402335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defTabSz="634548"/>
            <a:endParaRPr sz="1249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A033AB7A-5BA9-AA55-9B3E-FFC871CAAC9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982" y="204766"/>
            <a:ext cx="1106883" cy="644178"/>
          </a:xfrm>
          <a:prstGeom prst="rect">
            <a:avLst/>
          </a:prstGeom>
        </p:spPr>
      </p:pic>
      <p:sp>
        <p:nvSpPr>
          <p:cNvPr id="8" name="Espaço Reservado para Título 17">
            <a:extLst>
              <a:ext uri="{FF2B5EF4-FFF2-40B4-BE49-F238E27FC236}">
                <a16:creationId xmlns:a16="http://schemas.microsoft.com/office/drawing/2014/main" id="{18851D86-05BF-BF2F-BCB3-CDA789FEC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006" y="427757"/>
            <a:ext cx="6111248" cy="514564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>
              <a:defRPr sz="2700">
                <a:solidFill>
                  <a:srgbClr val="F1653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/>
              <a:t>Clique para editar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728273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11338" y="602332"/>
            <a:ext cx="5919787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213" y="865524"/>
            <a:ext cx="5919787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2526167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842E5A5A-7704-2F48-8702-A3E6101A002E}"/>
              </a:ext>
            </a:extLst>
          </p:cNvPr>
          <p:cNvSpPr/>
          <p:nvPr userDrawn="1"/>
        </p:nvSpPr>
        <p:spPr>
          <a:xfrm>
            <a:off x="1828046" y="2954787"/>
            <a:ext cx="2952000" cy="360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spaço Reservado para Texto 3">
            <a:extLst>
              <a:ext uri="{FF2B5EF4-FFF2-40B4-BE49-F238E27FC236}">
                <a16:creationId xmlns:a16="http://schemas.microsoft.com/office/drawing/2014/main" id="{CDF90CEE-BDF2-3D8C-A60C-9E9609E82BD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5882" y="1920603"/>
            <a:ext cx="59229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9F7F299-B9F4-BC9F-95FF-5ED073B643B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824038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anchor="t" anchorCtr="0">
            <a:no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lang="pt-BR" sz="1300" b="0" i="0" u="none" strike="noStrike" cap="none" dirty="0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0" name="Espaço Reservado para Texto 5">
            <a:extLst>
              <a:ext uri="{FF2B5EF4-FFF2-40B4-BE49-F238E27FC236}">
                <a16:creationId xmlns:a16="http://schemas.microsoft.com/office/drawing/2014/main" id="{79E14420-1845-E853-61FD-FA2963FDC8F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9905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Texto 5">
            <a:extLst>
              <a:ext uri="{FF2B5EF4-FFF2-40B4-BE49-F238E27FC236}">
                <a16:creationId xmlns:a16="http://schemas.microsoft.com/office/drawing/2014/main" id="{913B9138-B8EB-3199-7F11-1E6E66F0F89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2560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5">
            <a:extLst>
              <a:ext uri="{FF2B5EF4-FFF2-40B4-BE49-F238E27FC236}">
                <a16:creationId xmlns:a16="http://schemas.microsoft.com/office/drawing/2014/main" id="{B8F1D9A9-B7F4-BE71-F7ED-0A07DA24A9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824038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19" name="Espaço Reservado para Texto 5">
            <a:extLst>
              <a:ext uri="{FF2B5EF4-FFF2-40B4-BE49-F238E27FC236}">
                <a16:creationId xmlns:a16="http://schemas.microsoft.com/office/drawing/2014/main" id="{980425ED-7FEC-0C8E-25E6-739799A406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09905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20" name="Espaço Reservado para Texto 5">
            <a:extLst>
              <a:ext uri="{FF2B5EF4-FFF2-40B4-BE49-F238E27FC236}">
                <a16:creationId xmlns:a16="http://schemas.microsoft.com/office/drawing/2014/main" id="{C5B6446B-3A90-952C-4B30-11612A5C500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2560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pic>
        <p:nvPicPr>
          <p:cNvPr id="2" name="Imagem 1" descr="Logotipo&#10;&#10;Descrição gerada automaticamente">
            <a:extLst>
              <a:ext uri="{FF2B5EF4-FFF2-40B4-BE49-F238E27FC236}">
                <a16:creationId xmlns:a16="http://schemas.microsoft.com/office/drawing/2014/main" id="{0EC2B83C-9E2E-3F15-9152-6DD23C36ADA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00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tx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0766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4233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ayout Personalizad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  <p:sp>
        <p:nvSpPr>
          <p:cNvPr id="19" name="Espaço Reservado para Texto 4">
            <a:extLst>
              <a:ext uri="{FF2B5EF4-FFF2-40B4-BE49-F238E27FC236}">
                <a16:creationId xmlns:a16="http://schemas.microsoft.com/office/drawing/2014/main" id="{4D87E33E-59D6-DAD1-29AD-45184F79D6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0878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14150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821202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5194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194" y="929692"/>
            <a:ext cx="5067325" cy="447676"/>
          </a:xfrm>
        </p:spPr>
        <p:txBody>
          <a:bodyPr anchor="t">
            <a:noAutofit/>
          </a:bodyPr>
          <a:lstStyle>
            <a:lvl1pPr>
              <a:defRPr sz="32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37373" y="2652353"/>
            <a:ext cx="3215912" cy="321591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A49AEE0D-5540-3547-BC5A-EEFF6F6E43A8}"/>
              </a:ext>
            </a:extLst>
          </p:cNvPr>
          <p:cNvSpPr/>
          <p:nvPr userDrawn="1"/>
        </p:nvSpPr>
        <p:spPr>
          <a:xfrm>
            <a:off x="6063916" y="1579387"/>
            <a:ext cx="5362826" cy="5362826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C637D6D3-823D-5CA1-E4DB-1EBD83A6E131}"/>
              </a:ext>
            </a:extLst>
          </p:cNvPr>
          <p:cNvSpPr/>
          <p:nvPr userDrawn="1"/>
        </p:nvSpPr>
        <p:spPr>
          <a:xfrm>
            <a:off x="7111110" y="786063"/>
            <a:ext cx="1600274" cy="1600274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A80B72A2-436E-D9FD-0AF7-648ADA0BB41E}"/>
              </a:ext>
            </a:extLst>
          </p:cNvPr>
          <p:cNvSpPr/>
          <p:nvPr userDrawn="1"/>
        </p:nvSpPr>
        <p:spPr>
          <a:xfrm>
            <a:off x="10338588" y="4967534"/>
            <a:ext cx="1243812" cy="1243812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E9ECFA41-67A9-E4A3-C1EE-58B458E21DE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C78140DF-A908-BA68-B4C7-7132F96883C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28107" y="1003061"/>
            <a:ext cx="1166279" cy="1166279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E0A0048-DD3B-B964-36C4-C7F672FEE75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567923" y="5196870"/>
            <a:ext cx="785141" cy="785141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D0FB1F73-2382-C83E-EE36-306677E91D9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829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7" name="Arco">
            <a:extLst>
              <a:ext uri="{FF2B5EF4-FFF2-40B4-BE49-F238E27FC236}">
                <a16:creationId xmlns:a16="http://schemas.microsoft.com/office/drawing/2014/main" id="{FEACC453-19FE-F672-C06C-EFABEC608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604789">
            <a:off x="6305041" y="536830"/>
            <a:ext cx="2987899" cy="2987899"/>
          </a:xfrm>
          <a:prstGeom prst="arc">
            <a:avLst>
              <a:gd name="adj1" fmla="val 14455503"/>
              <a:gd name="adj2" fmla="val 0"/>
            </a:avLst>
          </a:prstGeom>
          <a:ln w="127000" cap="rnd">
            <a:solidFill>
              <a:schemeClr val="bg2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: Rounded Corners 11">
            <a:extLst>
              <a:ext uri="{FF2B5EF4-FFF2-40B4-BE49-F238E27FC236}">
                <a16:creationId xmlns:a16="http://schemas.microsoft.com/office/drawing/2014/main" id="{5DDD0DB3-501E-0143-8384-4B5B0B19366F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4465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0300" y="1398588"/>
            <a:ext cx="5067325" cy="447676"/>
          </a:xfrm>
        </p:spPr>
        <p:txBody>
          <a:bodyPr anchor="t">
            <a:noAutofit/>
          </a:bodyPr>
          <a:lstStyle>
            <a:lvl1pPr>
              <a:defRPr sz="3000" b="1" spc="-1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3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0A5879CF-3A57-F8C5-5DB7-0DDBF0702F5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8510" y="1335128"/>
            <a:ext cx="1022272" cy="1022272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65263578-CBA1-22C2-E629-7BBA7BA793D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888620" y="-1239748"/>
            <a:ext cx="2726056" cy="2726056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139BA4FB-8314-FDEC-15F0-E08569D9D4C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09642" y="5660305"/>
            <a:ext cx="681514" cy="681514"/>
          </a:xfrm>
          <a:prstGeom prst="rect">
            <a:avLst/>
          </a:prstGeom>
        </p:spPr>
      </p:pic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9568" y="1642454"/>
            <a:ext cx="4061502" cy="406150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  <p:sp>
        <p:nvSpPr>
          <p:cNvPr id="12" name="Espaço Reservado para Imagem 10">
            <a:extLst>
              <a:ext uri="{FF2B5EF4-FFF2-40B4-BE49-F238E27FC236}">
                <a16:creationId xmlns:a16="http://schemas.microsoft.com/office/drawing/2014/main" id="{82EDB949-E31F-851E-8023-22D09B234E0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4745" y="1494631"/>
            <a:ext cx="1190998" cy="1395317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pt-BR"/>
              <a:t>Grafismo</a:t>
            </a:r>
            <a:br>
              <a:rPr lang="pt-BR"/>
            </a:br>
            <a:r>
              <a:rPr lang="pt-BR"/>
              <a:t>(opcional)</a:t>
            </a:r>
          </a:p>
        </p:txBody>
      </p:sp>
    </p:spTree>
    <p:extLst>
      <p:ext uri="{BB962C8B-B14F-4D97-AF65-F5344CB8AC3E}">
        <p14:creationId xmlns:p14="http://schemas.microsoft.com/office/powerpoint/2010/main" val="8460147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6">
            <a:extLst>
              <a:ext uri="{FF2B5EF4-FFF2-40B4-BE49-F238E27FC236}">
                <a16:creationId xmlns:a16="http://schemas.microsoft.com/office/drawing/2014/main" id="{834422CA-98D0-C42F-0C28-8A89C29CEF93}"/>
              </a:ext>
            </a:extLst>
          </p:cNvPr>
          <p:cNvSpPr/>
          <p:nvPr userDrawn="1"/>
        </p:nvSpPr>
        <p:spPr>
          <a:xfrm>
            <a:off x="-279474" y="3770819"/>
            <a:ext cx="2140804" cy="2135020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E1A1E57D-5415-FF9C-C2D4-D14B577592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435006" y="1136650"/>
            <a:ext cx="1712170" cy="1707542"/>
          </a:xfrm>
          <a:prstGeom prst="rect">
            <a:avLst/>
          </a:prstGeom>
        </p:spPr>
      </p:pic>
      <p:sp>
        <p:nvSpPr>
          <p:cNvPr id="5" name="Oval 5">
            <a:extLst>
              <a:ext uri="{FF2B5EF4-FFF2-40B4-BE49-F238E27FC236}">
                <a16:creationId xmlns:a16="http://schemas.microsoft.com/office/drawing/2014/main" id="{A501F69B-8309-1299-025A-632B85EADA6F}"/>
              </a:ext>
            </a:extLst>
          </p:cNvPr>
          <p:cNvSpPr/>
          <p:nvPr userDrawn="1"/>
        </p:nvSpPr>
        <p:spPr>
          <a:xfrm>
            <a:off x="949082" y="1438270"/>
            <a:ext cx="3633370" cy="362354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32846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3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1BE0EC9-7069-DF75-D503-4A156A6520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05358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73055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D7E6FD-C4DA-F588-E77A-C8DBEDF9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69426D3-4E19-986D-846B-503FE9472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555FC61-4954-E68E-3679-F6B0250BF4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5" name="Imagem 4" descr="Logotipo&#10;&#10;Descrição gerada automaticamente">
            <a:extLst>
              <a:ext uri="{FF2B5EF4-FFF2-40B4-BE49-F238E27FC236}">
                <a16:creationId xmlns:a16="http://schemas.microsoft.com/office/drawing/2014/main" id="{18F92F95-DAA0-5CA6-8223-654C44F6D8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1260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A62373F-9A2F-0755-558D-BC41F23DDA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5" name="Imagem 4" descr="Logotipo&#10;&#10;Descrição gerada automaticamente">
            <a:extLst>
              <a:ext uri="{FF2B5EF4-FFF2-40B4-BE49-F238E27FC236}">
                <a16:creationId xmlns:a16="http://schemas.microsoft.com/office/drawing/2014/main" id="{DC36B712-BEA9-D1F7-495E-CE9EB10743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137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áfico 20">
            <a:extLst>
              <a:ext uri="{FF2B5EF4-FFF2-40B4-BE49-F238E27FC236}">
                <a16:creationId xmlns:a16="http://schemas.microsoft.com/office/drawing/2014/main" id="{8FC6E60B-071E-D350-BC6F-C0CD9604C70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360999" y="2586446"/>
            <a:ext cx="2101026" cy="2101026"/>
          </a:xfrm>
          <a:prstGeom prst="rect">
            <a:avLst/>
          </a:prstGeom>
        </p:spPr>
      </p:pic>
      <p:sp>
        <p:nvSpPr>
          <p:cNvPr id="22" name="Freeform: Shape 24">
            <a:extLst>
              <a:ext uri="{FF2B5EF4-FFF2-40B4-BE49-F238E27FC236}">
                <a16:creationId xmlns:a16="http://schemas.microsoft.com/office/drawing/2014/main" id="{55589210-86D7-6986-4F2E-47E6E193B276}"/>
              </a:ext>
            </a:extLst>
          </p:cNvPr>
          <p:cNvSpPr/>
          <p:nvPr userDrawn="1"/>
        </p:nvSpPr>
        <p:spPr>
          <a:xfrm>
            <a:off x="1" y="5491163"/>
            <a:ext cx="1460543" cy="1360974"/>
          </a:xfrm>
          <a:custGeom>
            <a:avLst/>
            <a:gdLst>
              <a:gd name="connsiteX0" fmla="*/ 618317 w 1778972"/>
              <a:gd name="connsiteY0" fmla="*/ 0 h 1657695"/>
              <a:gd name="connsiteX1" fmla="*/ 1778972 w 1778972"/>
              <a:gd name="connsiteY1" fmla="*/ 1160655 h 1657695"/>
              <a:gd name="connsiteX2" fmla="*/ 1687762 w 1778972"/>
              <a:gd name="connsiteY2" fmla="*/ 1612435 h 1657695"/>
              <a:gd name="connsiteX3" fmla="*/ 1663196 w 1778972"/>
              <a:gd name="connsiteY3" fmla="*/ 1657695 h 1657695"/>
              <a:gd name="connsiteX4" fmla="*/ 0 w 1778972"/>
              <a:gd name="connsiteY4" fmla="*/ 1657695 h 1657695"/>
              <a:gd name="connsiteX5" fmla="*/ 0 w 1778972"/>
              <a:gd name="connsiteY5" fmla="*/ 179622 h 1657695"/>
              <a:gd name="connsiteX6" fmla="*/ 65080 w 1778972"/>
              <a:gd name="connsiteY6" fmla="*/ 140085 h 1657695"/>
              <a:gd name="connsiteX7" fmla="*/ 618317 w 1778972"/>
              <a:gd name="connsiteY7" fmla="*/ 0 h 1657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78972" h="1657695">
                <a:moveTo>
                  <a:pt x="618317" y="0"/>
                </a:moveTo>
                <a:cubicBezTo>
                  <a:pt x="1259329" y="0"/>
                  <a:pt x="1778972" y="519643"/>
                  <a:pt x="1778972" y="1160655"/>
                </a:cubicBezTo>
                <a:cubicBezTo>
                  <a:pt x="1778972" y="1320908"/>
                  <a:pt x="1746495" y="1473576"/>
                  <a:pt x="1687762" y="1612435"/>
                </a:cubicBezTo>
                <a:lnTo>
                  <a:pt x="1663196" y="1657695"/>
                </a:lnTo>
                <a:lnTo>
                  <a:pt x="0" y="1657695"/>
                </a:lnTo>
                <a:lnTo>
                  <a:pt x="0" y="179622"/>
                </a:lnTo>
                <a:lnTo>
                  <a:pt x="65080" y="140085"/>
                </a:lnTo>
                <a:cubicBezTo>
                  <a:pt x="229537" y="50747"/>
                  <a:pt x="418001" y="0"/>
                  <a:pt x="618317" y="0"/>
                </a:cubicBezTo>
                <a:close/>
              </a:path>
            </a:pathLst>
          </a:cu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4978" y="1142317"/>
            <a:ext cx="5044671" cy="920750"/>
          </a:xfrm>
        </p:spPr>
        <p:txBody>
          <a:bodyPr anchor="t">
            <a:noAutofit/>
          </a:bodyPr>
          <a:lstStyle>
            <a:lvl1pPr algn="ctr"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79700" y="2239906"/>
            <a:ext cx="6832600" cy="951402"/>
          </a:xfrm>
        </p:spPr>
        <p:txBody>
          <a:bodyPr>
            <a:normAutofit/>
          </a:bodyPr>
          <a:lstStyle>
            <a:lvl1pPr marL="0" marR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F65EBF6C-485C-17DD-8EC2-C13A19FCC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7000" y="773884"/>
            <a:ext cx="5067325" cy="354597"/>
          </a:xfrm>
        </p:spPr>
        <p:txBody>
          <a:bodyPr lIns="108000" anchor="b">
            <a:normAutofit/>
          </a:bodyPr>
          <a:lstStyle>
            <a:lvl1pPr algn="ctr">
              <a:lnSpc>
                <a:spcPct val="100000"/>
              </a:lnSpc>
              <a:defRPr sz="1100" b="0" cap="all" spc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7" name="Freeform: Shape 26">
            <a:extLst>
              <a:ext uri="{FF2B5EF4-FFF2-40B4-BE49-F238E27FC236}">
                <a16:creationId xmlns:a16="http://schemas.microsoft.com/office/drawing/2014/main" id="{5E95BECC-9D3F-5219-68DD-89416A67263D}"/>
              </a:ext>
            </a:extLst>
          </p:cNvPr>
          <p:cNvSpPr/>
          <p:nvPr userDrawn="1"/>
        </p:nvSpPr>
        <p:spPr>
          <a:xfrm>
            <a:off x="3360987" y="3762124"/>
            <a:ext cx="4638820" cy="3090011"/>
          </a:xfrm>
          <a:custGeom>
            <a:avLst/>
            <a:gdLst>
              <a:gd name="connsiteX0" fmla="*/ 2319410 w 4638820"/>
              <a:gd name="connsiteY0" fmla="*/ 0 h 3090010"/>
              <a:gd name="connsiteX1" fmla="*/ 4638820 w 4638820"/>
              <a:gd name="connsiteY1" fmla="*/ 2319408 h 3090010"/>
              <a:gd name="connsiteX2" fmla="*/ 4534544 w 4638820"/>
              <a:gd name="connsiteY2" fmla="*/ 3009129 h 3090010"/>
              <a:gd name="connsiteX3" fmla="*/ 4504942 w 4638820"/>
              <a:gd name="connsiteY3" fmla="*/ 3090010 h 3090010"/>
              <a:gd name="connsiteX4" fmla="*/ 133879 w 4638820"/>
              <a:gd name="connsiteY4" fmla="*/ 3090010 h 3090010"/>
              <a:gd name="connsiteX5" fmla="*/ 104276 w 4638820"/>
              <a:gd name="connsiteY5" fmla="*/ 3009129 h 3090010"/>
              <a:gd name="connsiteX6" fmla="*/ 0 w 4638820"/>
              <a:gd name="connsiteY6" fmla="*/ 2319408 h 3090010"/>
              <a:gd name="connsiteX7" fmla="*/ 2319410 w 4638820"/>
              <a:gd name="connsiteY7" fmla="*/ 0 h 309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38820" h="3090010">
                <a:moveTo>
                  <a:pt x="2319410" y="0"/>
                </a:moveTo>
                <a:cubicBezTo>
                  <a:pt x="3600385" y="0"/>
                  <a:pt x="4638820" y="1038434"/>
                  <a:pt x="4638820" y="2319408"/>
                </a:cubicBezTo>
                <a:cubicBezTo>
                  <a:pt x="4638820" y="2559591"/>
                  <a:pt x="4602313" y="2791247"/>
                  <a:pt x="4534544" y="3009129"/>
                </a:cubicBezTo>
                <a:lnTo>
                  <a:pt x="4504942" y="3090010"/>
                </a:lnTo>
                <a:lnTo>
                  <a:pt x="133879" y="3090010"/>
                </a:lnTo>
                <a:lnTo>
                  <a:pt x="104276" y="3009129"/>
                </a:lnTo>
                <a:cubicBezTo>
                  <a:pt x="36508" y="2791247"/>
                  <a:pt x="0" y="2559591"/>
                  <a:pt x="0" y="2319408"/>
                </a:cubicBezTo>
                <a:cubicBezTo>
                  <a:pt x="0" y="1038434"/>
                  <a:pt x="1038435" y="0"/>
                  <a:pt x="231941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9" name="Oval 1">
            <a:extLst>
              <a:ext uri="{FF2B5EF4-FFF2-40B4-BE49-F238E27FC236}">
                <a16:creationId xmlns:a16="http://schemas.microsoft.com/office/drawing/2014/main" id="{0B03E640-E3BB-FB17-5537-862E75ABF681}"/>
              </a:ext>
            </a:extLst>
          </p:cNvPr>
          <p:cNvSpPr/>
          <p:nvPr userDrawn="1"/>
        </p:nvSpPr>
        <p:spPr>
          <a:xfrm>
            <a:off x="1409433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B9DBEBF6-24A2-17AF-03D7-D3A1A2315E42}"/>
              </a:ext>
            </a:extLst>
          </p:cNvPr>
          <p:cNvSpPr/>
          <p:nvPr userDrawn="1"/>
        </p:nvSpPr>
        <p:spPr>
          <a:xfrm>
            <a:off x="4673835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1" name="Oval 9">
            <a:extLst>
              <a:ext uri="{FF2B5EF4-FFF2-40B4-BE49-F238E27FC236}">
                <a16:creationId xmlns:a16="http://schemas.microsoft.com/office/drawing/2014/main" id="{7AFB69F1-EC89-0D88-F743-AB0CCD4E607B}"/>
              </a:ext>
            </a:extLst>
          </p:cNvPr>
          <p:cNvSpPr/>
          <p:nvPr userDrawn="1"/>
        </p:nvSpPr>
        <p:spPr>
          <a:xfrm>
            <a:off x="7998729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8" name="Espaço Reservado para Imagem 27">
            <a:extLst>
              <a:ext uri="{FF2B5EF4-FFF2-40B4-BE49-F238E27FC236}">
                <a16:creationId xmlns:a16="http://schemas.microsoft.com/office/drawing/2014/main" id="{6DE3F598-43D3-1E44-57FB-17EFD4D9254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512131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19" name="Espaço Reservado para Imagem 27">
            <a:extLst>
              <a:ext uri="{FF2B5EF4-FFF2-40B4-BE49-F238E27FC236}">
                <a16:creationId xmlns:a16="http://schemas.microsoft.com/office/drawing/2014/main" id="{E0926438-798E-F72E-EFC9-39EF87CE363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9618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0" name="Espaço Reservado para Imagem 27">
            <a:extLst>
              <a:ext uri="{FF2B5EF4-FFF2-40B4-BE49-F238E27FC236}">
                <a16:creationId xmlns:a16="http://schemas.microsoft.com/office/drawing/2014/main" id="{E07D2C1F-D30D-2277-57A7-14955984FC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0196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5" name="Espaço Reservado para Texto 23">
            <a:extLst>
              <a:ext uri="{FF2B5EF4-FFF2-40B4-BE49-F238E27FC236}">
                <a16:creationId xmlns:a16="http://schemas.microsoft.com/office/drawing/2014/main" id="{10FAB265-50D2-444E-770C-DF530276BE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16450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7" name="Espaço Reservado para Texto 23">
            <a:extLst>
              <a:ext uri="{FF2B5EF4-FFF2-40B4-BE49-F238E27FC236}">
                <a16:creationId xmlns:a16="http://schemas.microsoft.com/office/drawing/2014/main" id="{A60E8CAA-48D5-61E9-C74D-2CCEB3E3A7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6296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9" name="Espaço Reservado para Texto 23">
            <a:extLst>
              <a:ext uri="{FF2B5EF4-FFF2-40B4-BE49-F238E27FC236}">
                <a16:creationId xmlns:a16="http://schemas.microsoft.com/office/drawing/2014/main" id="{73876383-9A46-664A-7697-809108EB46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1409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37" name="Espaço Reservado para Texto 36">
            <a:extLst>
              <a:ext uri="{FF2B5EF4-FFF2-40B4-BE49-F238E27FC236}">
                <a16:creationId xmlns:a16="http://schemas.microsoft.com/office/drawing/2014/main" id="{F5EC3AD8-AE40-5DF3-5734-FF5CE48658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10496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8" name="Espaço Reservado para Texto 36">
            <a:extLst>
              <a:ext uri="{FF2B5EF4-FFF2-40B4-BE49-F238E27FC236}">
                <a16:creationId xmlns:a16="http://schemas.microsoft.com/office/drawing/2014/main" id="{D2DAA205-1F5B-0E76-2E89-35678D12406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78915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9" name="Espaço Reservado para Texto 36">
            <a:extLst>
              <a:ext uri="{FF2B5EF4-FFF2-40B4-BE49-F238E27FC236}">
                <a16:creationId xmlns:a16="http://schemas.microsoft.com/office/drawing/2014/main" id="{EC8C1CAA-95F3-AE44-1F31-7D912F1B861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99247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A71C9253-C6F2-D64E-370F-3FC0B4D6CE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7037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28" name="Espaço Reservado para Texto 26">
            <a:extLst>
              <a:ext uri="{FF2B5EF4-FFF2-40B4-BE49-F238E27FC236}">
                <a16:creationId xmlns:a16="http://schemas.microsoft.com/office/drawing/2014/main" id="{48FFDDFF-D427-23B0-5392-54A4F7DC0D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1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5" name="Espaço Reservado para Texto 26">
            <a:extLst>
              <a:ext uri="{FF2B5EF4-FFF2-40B4-BE49-F238E27FC236}">
                <a16:creationId xmlns:a16="http://schemas.microsoft.com/office/drawing/2014/main" id="{434FF1FA-B54B-D941-7236-4AB73CE07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1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6" name="Espaço Reservado para Texto 26">
            <a:extLst>
              <a:ext uri="{FF2B5EF4-FFF2-40B4-BE49-F238E27FC236}">
                <a16:creationId xmlns:a16="http://schemas.microsoft.com/office/drawing/2014/main" id="{94BBE6CA-1C8D-0C0E-98B1-F0C9675FB2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1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7" name="Espaço Reservado para Texto 26">
            <a:extLst>
              <a:ext uri="{FF2B5EF4-FFF2-40B4-BE49-F238E27FC236}">
                <a16:creationId xmlns:a16="http://schemas.microsoft.com/office/drawing/2014/main" id="{802FF599-8D20-63CA-9E5C-86076C60E4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3601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1" name="Espaço Reservado para Texto 26">
            <a:extLst>
              <a:ext uri="{FF2B5EF4-FFF2-40B4-BE49-F238E27FC236}">
                <a16:creationId xmlns:a16="http://schemas.microsoft.com/office/drawing/2014/main" id="{57A346B4-11F9-01EB-210A-4A70946F8E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97850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2" name="Espaço Reservado para Texto 26">
            <a:extLst>
              <a:ext uri="{FF2B5EF4-FFF2-40B4-BE49-F238E27FC236}">
                <a16:creationId xmlns:a16="http://schemas.microsoft.com/office/drawing/2014/main" id="{EC3DE48F-0EBD-2A68-925F-8A0EF020E6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97850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3" name="Espaço Reservado para Texto 26">
            <a:extLst>
              <a:ext uri="{FF2B5EF4-FFF2-40B4-BE49-F238E27FC236}">
                <a16:creationId xmlns:a16="http://schemas.microsoft.com/office/drawing/2014/main" id="{FF173AB6-483B-5C2C-0E35-74B8CFC072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97850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4" name="Espaço Reservado para Texto 26">
            <a:extLst>
              <a:ext uri="{FF2B5EF4-FFF2-40B4-BE49-F238E27FC236}">
                <a16:creationId xmlns:a16="http://schemas.microsoft.com/office/drawing/2014/main" id="{67ADE121-C2B0-51E4-A497-3BB512AA41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7850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2" name="Espaço Reservado para Texto 3">
            <a:extLst>
              <a:ext uri="{FF2B5EF4-FFF2-40B4-BE49-F238E27FC236}">
                <a16:creationId xmlns:a16="http://schemas.microsoft.com/office/drawing/2014/main" id="{79D8D897-387E-A66E-3D4D-C6E8F6F705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70391" y="3235508"/>
            <a:ext cx="3044731" cy="951402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6ABF1A4E-2E86-BEFC-CB5F-DEB96D53FF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098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ranc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9F790EC3-C462-56AD-2B08-F7FF72508A8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76763" y="1571153"/>
            <a:ext cx="654050" cy="65405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9" name="Espaço Reservado para Imagem 6">
            <a:extLst>
              <a:ext uri="{FF2B5EF4-FFF2-40B4-BE49-F238E27FC236}">
                <a16:creationId xmlns:a16="http://schemas.microsoft.com/office/drawing/2014/main" id="{117F00D3-8A9D-BA5C-B4D6-56F53DABE08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576763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1" name="Espaço Reservado para Imagem 6">
            <a:extLst>
              <a:ext uri="{FF2B5EF4-FFF2-40B4-BE49-F238E27FC236}">
                <a16:creationId xmlns:a16="http://schemas.microsoft.com/office/drawing/2014/main" id="{C63AF8FD-7A31-97C0-140D-F6C27992E08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576763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3" name="Espaço Reservado para Imagem 6">
            <a:extLst>
              <a:ext uri="{FF2B5EF4-FFF2-40B4-BE49-F238E27FC236}">
                <a16:creationId xmlns:a16="http://schemas.microsoft.com/office/drawing/2014/main" id="{F1E03703-2380-F3EB-4FA7-CE7A98BD8A4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576763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8" name="Espaço Reservado para Imagem 6">
            <a:extLst>
              <a:ext uri="{FF2B5EF4-FFF2-40B4-BE49-F238E27FC236}">
                <a16:creationId xmlns:a16="http://schemas.microsoft.com/office/drawing/2014/main" id="{F2561D0A-B2DA-2E1A-6F9F-4F820557716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102600" y="157115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9" name="Espaço Reservado para Imagem 6">
            <a:extLst>
              <a:ext uri="{FF2B5EF4-FFF2-40B4-BE49-F238E27FC236}">
                <a16:creationId xmlns:a16="http://schemas.microsoft.com/office/drawing/2014/main" id="{5FF9A836-CC47-5A5F-1F9F-77925A1F458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02600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0" name="Espaço Reservado para Imagem 6">
            <a:extLst>
              <a:ext uri="{FF2B5EF4-FFF2-40B4-BE49-F238E27FC236}">
                <a16:creationId xmlns:a16="http://schemas.microsoft.com/office/drawing/2014/main" id="{6B2CA7E3-B922-EC4D-43CF-64B5C722AF4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8102600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1" name="Espaço Reservado para Imagem 6">
            <a:extLst>
              <a:ext uri="{FF2B5EF4-FFF2-40B4-BE49-F238E27FC236}">
                <a16:creationId xmlns:a16="http://schemas.microsoft.com/office/drawing/2014/main" id="{59009F60-9F6B-1234-55D4-BBD6C8FA18B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102600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14407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29860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E8555A5-CA9C-44C0-D421-B213BA420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962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532" imgH="530" progId="TCLayout.ActiveDocument.1">
                  <p:embed/>
                </p:oleObj>
              </mc:Choice>
              <mc:Fallback>
                <p:oleObj name="Slide do think-cell" r:id="rId3" imgW="532" imgH="53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8555A5-CA9C-44C0-D421-B213BA420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663560"/>
            <a:ext cx="9144000" cy="1846403"/>
          </a:xfrm>
        </p:spPr>
        <p:txBody>
          <a:bodyPr vert="horz" anchor="b"/>
          <a:lstStyle>
            <a:lvl1pPr algn="ctr" rtl="0">
              <a:defRPr sz="599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36933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108" indent="0" algn="ctr">
              <a:buNone/>
              <a:defRPr sz="2000"/>
            </a:lvl2pPr>
            <a:lvl3pPr marL="914214" indent="0" algn="ctr">
              <a:buNone/>
              <a:defRPr sz="1800"/>
            </a:lvl3pPr>
            <a:lvl4pPr marL="1371322" indent="0" algn="ctr">
              <a:buNone/>
              <a:defRPr sz="1600"/>
            </a:lvl4pPr>
            <a:lvl5pPr marL="1828429" indent="0" algn="ctr">
              <a:buNone/>
              <a:defRPr sz="1600"/>
            </a:lvl5pPr>
            <a:lvl6pPr marL="2285536" indent="0" algn="ctr">
              <a:buNone/>
              <a:defRPr sz="1600"/>
            </a:lvl6pPr>
            <a:lvl7pPr marL="2742643" indent="0" algn="ctr">
              <a:buNone/>
              <a:defRPr sz="1600"/>
            </a:lvl7pPr>
            <a:lvl8pPr marL="3199751" indent="0" algn="ctr">
              <a:buNone/>
              <a:defRPr sz="1600"/>
            </a:lvl8pPr>
            <a:lvl9pPr marL="3656858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47DBC13-1C4E-4C0D-A7E5-1B3DFF9BDB77}" type="datetimeFigureOut">
              <a:rPr lang="pt-BR" smtClean="0"/>
              <a:pPr/>
              <a:t>16/05/2026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75CA566-0B28-4957-BC96-83CEC6D5E960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7" name="Imagem 6" descr="Forma&#10;&#10;Descrição gerada automaticamente com confiança média">
            <a:extLst>
              <a:ext uri="{FF2B5EF4-FFF2-40B4-BE49-F238E27FC236}">
                <a16:creationId xmlns:a16="http://schemas.microsoft.com/office/drawing/2014/main" id="{6C42CBA3-3FF3-3B97-6246-534609936B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425" y="0"/>
            <a:ext cx="123648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246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586580-0C6D-43CF-AD2C-25ADE4B538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AE4E1D4-AB1A-48D1-9A59-F20EE335B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9951704-927B-4A22-8579-F84376718AE5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3" name="Espaço Reservado para Texto 2">
            <a:extLst>
              <a:ext uri="{FF2B5EF4-FFF2-40B4-BE49-F238E27FC236}">
                <a16:creationId xmlns:a16="http://schemas.microsoft.com/office/drawing/2014/main" id="{B66346A9-9466-407E-A0B6-D5718A5A7D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363" y="1701800"/>
            <a:ext cx="4525963" cy="4346575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  <a:latin typeface="+mn-lt"/>
                <a:cs typeface="Calibri" panose="020F0502020204030204" pitchFamily="34" charset="0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84216B22-24C4-4F2C-BD2F-46A234CB2D6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0362" y="1168240"/>
            <a:ext cx="11470959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  <a:cs typeface="Calibri" panose="020F0502020204030204" pitchFamily="34" charset="0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4" name="Espaço Reservado para Tabela 3">
            <a:extLst>
              <a:ext uri="{FF2B5EF4-FFF2-40B4-BE49-F238E27FC236}">
                <a16:creationId xmlns:a16="http://schemas.microsoft.com/office/drawing/2014/main" id="{47C59625-73A2-486F-A6CE-FC9D84F1135D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124451" y="2313677"/>
            <a:ext cx="6706871" cy="3344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pt-BR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E27F2044-D146-4E7F-A726-CAE4551C5D1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7755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ipse 9">
            <a:extLst>
              <a:ext uri="{FF2B5EF4-FFF2-40B4-BE49-F238E27FC236}">
                <a16:creationId xmlns:a16="http://schemas.microsoft.com/office/drawing/2014/main" id="{1DA6EAF7-7A58-A806-93AB-79252ADE3D02}"/>
              </a:ext>
            </a:extLst>
          </p:cNvPr>
          <p:cNvSpPr/>
          <p:nvPr userDrawn="1"/>
        </p:nvSpPr>
        <p:spPr>
          <a:xfrm>
            <a:off x="5991426" y="507252"/>
            <a:ext cx="3400926" cy="3400926"/>
          </a:xfrm>
          <a:prstGeom prst="ellipse">
            <a:avLst/>
          </a:prstGeom>
          <a:noFill/>
          <a:ln w="57150" cap="rnd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825313D-A284-DF6E-CA0F-9FEA8047887C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3Grá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586580-0C6D-43CF-AD2C-25ADE4B538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AE4E1D4-AB1A-48D1-9A59-F20EE335B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84216B22-24C4-4F2C-BD2F-46A234CB2D6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1951" y="1168240"/>
            <a:ext cx="11469371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62509E98-4BD6-4A16-B0BF-F4B4E2476614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361951" y="5999641"/>
            <a:ext cx="11469371" cy="270771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0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Espaço Reservado para Gráfico 6">
            <a:extLst>
              <a:ext uri="{FF2B5EF4-FFF2-40B4-BE49-F238E27FC236}">
                <a16:creationId xmlns:a16="http://schemas.microsoft.com/office/drawing/2014/main" id="{AF81EC95-7FE1-4430-9F79-3BBD52635D90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61950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5" name="Espaço Reservado para Gráfico 6">
            <a:extLst>
              <a:ext uri="{FF2B5EF4-FFF2-40B4-BE49-F238E27FC236}">
                <a16:creationId xmlns:a16="http://schemas.microsoft.com/office/drawing/2014/main" id="{96782689-F0DD-45AC-83D4-A3B3D71D6991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324351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6" name="Espaço Reservado para Gráfico 6">
            <a:extLst>
              <a:ext uri="{FF2B5EF4-FFF2-40B4-BE49-F238E27FC236}">
                <a16:creationId xmlns:a16="http://schemas.microsoft.com/office/drawing/2014/main" id="{9C47BF1B-F307-4381-8A26-465B43977E4C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8286750" y="2761989"/>
            <a:ext cx="3543300" cy="3102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E83232B9-1B44-4B96-8921-9D54279E0E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951" y="1701801"/>
            <a:ext cx="11468100" cy="925353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4C008CA8-BC72-4734-879F-0EA5E93E7B8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62901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+4Grá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:a16="http://schemas.microsoft.com/office/drawing/2014/main" id="{1DCCD3BB-FA21-4B11-AFF6-61AE1D2718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3" name="Espaço Reservado para Número de Slide 5">
            <a:extLst>
              <a:ext uri="{FF2B5EF4-FFF2-40B4-BE49-F238E27FC236}">
                <a16:creationId xmlns:a16="http://schemas.microsoft.com/office/drawing/2014/main" id="{41A2E64A-F015-4BFE-B829-B117F1B2E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8435" y="6405246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02E7469A-30CE-4E01-B02B-947687B9A64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361951" y="5999641"/>
            <a:ext cx="11469371" cy="270771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0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9" name="Espaço Reservado para Gráfico 6">
            <a:extLst>
              <a:ext uri="{FF2B5EF4-FFF2-40B4-BE49-F238E27FC236}">
                <a16:creationId xmlns:a16="http://schemas.microsoft.com/office/drawing/2014/main" id="{C66E46EE-0D83-44ED-AD76-7AC85B5349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61949" y="1167979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0" name="Espaço Reservado para Gráfico 6">
            <a:extLst>
              <a:ext uri="{FF2B5EF4-FFF2-40B4-BE49-F238E27FC236}">
                <a16:creationId xmlns:a16="http://schemas.microsoft.com/office/drawing/2014/main" id="{8B1B5F17-98BE-4E46-A6F1-7B9AF35DFEBD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361949" y="3603783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1" name="Espaço Reservado para Gráfico 6">
            <a:extLst>
              <a:ext uri="{FF2B5EF4-FFF2-40B4-BE49-F238E27FC236}">
                <a16:creationId xmlns:a16="http://schemas.microsoft.com/office/drawing/2014/main" id="{F67E19CF-55C8-45D1-A613-AB78744994C5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334127" y="1167979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2" name="Espaço Reservado para Gráfico 6">
            <a:extLst>
              <a:ext uri="{FF2B5EF4-FFF2-40B4-BE49-F238E27FC236}">
                <a16:creationId xmlns:a16="http://schemas.microsoft.com/office/drawing/2014/main" id="{76DEC8A3-A4DC-4812-829E-727A1CF09493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334127" y="3603783"/>
            <a:ext cx="5495925" cy="2261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6AFBEF74-A782-43D6-B196-F820C89864C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250372" y="642112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4620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+Tabela-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D29E531-7017-455B-9C64-E00A16330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742" y="6444615"/>
            <a:ext cx="772886" cy="318134"/>
          </a:xfrm>
          <a:prstGeom prst="rect">
            <a:avLst/>
          </a:prstGeom>
        </p:spPr>
        <p:txBody>
          <a:bodyPr/>
          <a:lstStyle/>
          <a:p>
            <a:fld id="{99951704-927B-4A22-8579-F84376718AE5}" type="slidenum">
              <a:rPr lang="pt-BR" smtClean="0"/>
              <a:t>‹nº›</a:t>
            </a:fld>
            <a:endParaRPr lang="pt-BR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87CAF1C9-139D-4B51-B566-CD1D5C14F6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321" y="351897"/>
            <a:ext cx="9144000" cy="621770"/>
          </a:xfrm>
          <a:prstGeom prst="rect">
            <a:avLst/>
          </a:prstGeom>
        </p:spPr>
        <p:txBody>
          <a:bodyPr anchor="t"/>
          <a:lstStyle>
            <a:lvl1pPr algn="r">
              <a:defRPr sz="2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6" name="Espaço Reservado para Texto 2">
            <a:extLst>
              <a:ext uri="{FF2B5EF4-FFF2-40B4-BE49-F238E27FC236}">
                <a16:creationId xmlns:a16="http://schemas.microsoft.com/office/drawing/2014/main" id="{AB1CE02F-B209-4354-A85F-9BB2B791A1F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61951" y="1168240"/>
            <a:ext cx="8240038" cy="41502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7" name="Espaço Reservado para Texto 2">
            <a:extLst>
              <a:ext uri="{FF2B5EF4-FFF2-40B4-BE49-F238E27FC236}">
                <a16:creationId xmlns:a16="http://schemas.microsoft.com/office/drawing/2014/main" id="{039BEF46-F433-4C5A-B28B-CE5234E33D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951" y="5360460"/>
            <a:ext cx="8239125" cy="897863"/>
          </a:xfrm>
          <a:prstGeom prst="rect">
            <a:avLst/>
          </a:prstGeom>
        </p:spPr>
        <p:txBody>
          <a:bodyPr anchor="t"/>
          <a:lstStyle>
            <a:lvl1pPr marL="0" indent="0" algn="just">
              <a:buNone/>
              <a:defRPr sz="1600">
                <a:solidFill>
                  <a:srgbClr val="7F7F7F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8" name="Espaço Reservado para Tabela 7">
            <a:extLst>
              <a:ext uri="{FF2B5EF4-FFF2-40B4-BE49-F238E27FC236}">
                <a16:creationId xmlns:a16="http://schemas.microsoft.com/office/drawing/2014/main" id="{D9F9EDB0-2819-41D8-B9FE-331C05818477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61951" y="1685926"/>
            <a:ext cx="8239125" cy="3571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pt-BR"/>
          </a:p>
        </p:txBody>
      </p:sp>
      <p:sp>
        <p:nvSpPr>
          <p:cNvPr id="9" name="Espaço Reservado para Rodapé 4">
            <a:extLst>
              <a:ext uri="{FF2B5EF4-FFF2-40B4-BE49-F238E27FC236}">
                <a16:creationId xmlns:a16="http://schemas.microsoft.com/office/drawing/2014/main" id="{46027ECD-5CB1-4DE1-8A74-7CF7A9400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8860" y="6414770"/>
            <a:ext cx="948267" cy="309880"/>
          </a:xfrm>
          <a:prstGeom prst="rect">
            <a:avLst/>
          </a:prstGeom>
        </p:spPr>
        <p:txBody>
          <a:bodyPr anchor="ctr"/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endParaRPr lang="pt-BR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38F00A95-1D14-4306-97B4-D74DE7A1AA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53476" y="1168401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  <p:sp>
        <p:nvSpPr>
          <p:cNvPr id="10" name="Espaço Reservado para Imagem 2">
            <a:extLst>
              <a:ext uri="{FF2B5EF4-FFF2-40B4-BE49-F238E27FC236}">
                <a16:creationId xmlns:a16="http://schemas.microsoft.com/office/drawing/2014/main" id="{C370A8EA-789E-4600-8390-1668ED0363E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53476" y="2925074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  <p:sp>
        <p:nvSpPr>
          <p:cNvPr id="11" name="Espaço Reservado para Imagem 2">
            <a:extLst>
              <a:ext uri="{FF2B5EF4-FFF2-40B4-BE49-F238E27FC236}">
                <a16:creationId xmlns:a16="http://schemas.microsoft.com/office/drawing/2014/main" id="{017F1FD6-1424-4941-AE88-B1D62046E8A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53476" y="4654948"/>
            <a:ext cx="3076575" cy="160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30184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4269" y="2277546"/>
            <a:ext cx="2999105" cy="175984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30E247F3-918F-42E7-93B3-3BD141EB1FF3}"/>
              </a:ext>
            </a:extLst>
          </p:cNvPr>
          <p:cNvSpPr/>
          <p:nvPr userDrawn="1"/>
        </p:nvSpPr>
        <p:spPr>
          <a:xfrm>
            <a:off x="-600" y="1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F1E7FB4-FF53-4331-B85A-28B64DB8D6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800">
                <a:solidFill>
                  <a:schemeClr val="accent3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9204991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3C47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b="52125"/>
          <a:stretch>
            <a:fillRect/>
          </a:stretch>
        </p:blipFill>
        <p:spPr>
          <a:xfrm rot="11465643">
            <a:off x="10728079" y="-269222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4269" y="2277546"/>
            <a:ext cx="2999105" cy="175984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6200000">
            <a:off x="6483498" y="816034"/>
            <a:ext cx="1915463" cy="10168468"/>
          </a:xfrm>
          <a:prstGeom prst="rect">
            <a:avLst/>
          </a:prstGeom>
        </p:spPr>
      </p:pic>
      <p:sp>
        <p:nvSpPr>
          <p:cNvPr id="11" name="Espaço Reservado para Texto 2">
            <a:extLst>
              <a:ext uri="{FF2B5EF4-FFF2-40B4-BE49-F238E27FC236}">
                <a16:creationId xmlns:a16="http://schemas.microsoft.com/office/drawing/2014/main" id="{12F6AD0A-6457-4EE9-9B2B-EB7B1BB9ED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Benton Sans Book"/>
              </a:defRPr>
            </a:lvl1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4148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3C47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b="52125"/>
          <a:stretch>
            <a:fillRect/>
          </a:stretch>
        </p:blipFill>
        <p:spPr>
          <a:xfrm rot="11465643">
            <a:off x="10728079" y="-269222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5281182" y="-491085"/>
            <a:ext cx="1915463" cy="12782706"/>
          </a:xfrm>
          <a:prstGeom prst="rect">
            <a:avLst/>
          </a:prstGeom>
        </p:spPr>
      </p:pic>
      <p:sp>
        <p:nvSpPr>
          <p:cNvPr id="11" name="Espaço Reservado para Texto 2">
            <a:extLst>
              <a:ext uri="{FF2B5EF4-FFF2-40B4-BE49-F238E27FC236}">
                <a16:creationId xmlns:a16="http://schemas.microsoft.com/office/drawing/2014/main" id="{12F6AD0A-6457-4EE9-9B2B-EB7B1BB9ED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627" y="3021685"/>
            <a:ext cx="5345359" cy="176212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Benton Sans Book"/>
              </a:defRPr>
            </a:lvl1pPr>
          </a:lstStyle>
          <a:p>
            <a:pPr lvl="0"/>
            <a:endParaRPr lang="pt-BR"/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A0B45A3B-F5C4-419D-A6CD-8532070178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469" y="288972"/>
            <a:ext cx="1467411" cy="861061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FB83016E-12A2-46D9-AAD4-7508AA6B95FD}"/>
              </a:ext>
            </a:extLst>
          </p:cNvPr>
          <p:cNvSpPr/>
          <p:nvPr userDrawn="1"/>
        </p:nvSpPr>
        <p:spPr>
          <a:xfrm>
            <a:off x="-600" y="1"/>
            <a:ext cx="12193200" cy="469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</p:spTree>
    <p:extLst>
      <p:ext uri="{BB962C8B-B14F-4D97-AF65-F5344CB8AC3E}">
        <p14:creationId xmlns:p14="http://schemas.microsoft.com/office/powerpoint/2010/main" val="27462147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85132E8A-12A0-405B-9358-78F5E6FF1926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pt-BR" sz="3599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E81C9B4-7A70-4354-87CB-34B038FD265D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9" name="Gráfico 276">
            <a:extLst>
              <a:ext uri="{FF2B5EF4-FFF2-40B4-BE49-F238E27FC236}">
                <a16:creationId xmlns:a16="http://schemas.microsoft.com/office/drawing/2014/main" id="{4C94F872-6ACE-40EF-8D8B-A47A9C33ABFC}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94766" y="199765"/>
            <a:ext cx="1196140" cy="701882"/>
          </a:xfrm>
          <a:prstGeom prst="rect">
            <a:avLst/>
          </a:prstGeom>
        </p:spPr>
      </p:pic>
      <p:pic>
        <p:nvPicPr>
          <p:cNvPr id="10" name="Gráfico 275">
            <a:extLst>
              <a:ext uri="{FF2B5EF4-FFF2-40B4-BE49-F238E27FC236}">
                <a16:creationId xmlns:a16="http://schemas.microsoft.com/office/drawing/2014/main" id="{97E863F8-B987-4F2D-9AC5-F0B78F68C525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30E247F3-918F-42E7-93B3-3BD141EB1FF3}"/>
              </a:ext>
            </a:extLst>
          </p:cNvPr>
          <p:cNvSpPr/>
          <p:nvPr userDrawn="1"/>
        </p:nvSpPr>
        <p:spPr>
          <a:xfrm>
            <a:off x="-600" y="1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9"/>
          </a:p>
        </p:txBody>
      </p:sp>
    </p:spTree>
    <p:extLst>
      <p:ext uri="{BB962C8B-B14F-4D97-AF65-F5344CB8AC3E}">
        <p14:creationId xmlns:p14="http://schemas.microsoft.com/office/powerpoint/2010/main" val="38747445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401405-5E82-4529-9B27-92B31CD15C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1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4" progId="TCLayout.ActiveDocument.1">
                  <p:embed/>
                </p:oleObj>
              </mc:Choice>
              <mc:Fallback>
                <p:oleObj name="Slide do think-cell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401405-5E82-4529-9B27-92B31CD15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>
            <a:extLst>
              <a:ext uri="{FF2B5EF4-FFF2-40B4-BE49-F238E27FC236}">
                <a16:creationId xmlns:a16="http://schemas.microsoft.com/office/drawing/2014/main" id="{E34D2AD8-2621-4736-82D0-3C077BACE79D}"/>
              </a:ext>
            </a:extLst>
          </p:cNvPr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598"/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03E9D59-1D91-4853-AEFA-51E5C533728F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b="52125"/>
          <a:stretch>
            <a:fillRect/>
          </a:stretch>
        </p:blipFill>
        <p:spPr>
          <a:xfrm rot="11465643">
            <a:off x="10156430" y="-193021"/>
            <a:ext cx="1670532" cy="3456767"/>
          </a:xfrm>
          <a:custGeom>
            <a:avLst/>
            <a:gdLst>
              <a:gd name="connsiteX0" fmla="*/ 1670532 w 1670532"/>
              <a:gd name="connsiteY0" fmla="*/ 3129202 h 3456767"/>
              <a:gd name="connsiteX1" fmla="*/ 0 w 1670532"/>
              <a:gd name="connsiteY1" fmla="*/ 3456767 h 3456767"/>
              <a:gd name="connsiteX2" fmla="*/ 0 w 1670532"/>
              <a:gd name="connsiteY2" fmla="*/ 0 h 3456767"/>
              <a:gd name="connsiteX3" fmla="*/ 1670532 w 1670532"/>
              <a:gd name="connsiteY3" fmla="*/ 0 h 345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0532" h="3456767">
                <a:moveTo>
                  <a:pt x="1670532" y="3129202"/>
                </a:moveTo>
                <a:lnTo>
                  <a:pt x="0" y="3456767"/>
                </a:lnTo>
                <a:lnTo>
                  <a:pt x="0" y="0"/>
                </a:lnTo>
                <a:lnTo>
                  <a:pt x="1670532" y="0"/>
                </a:lnTo>
                <a:close/>
              </a:path>
            </a:pathLst>
          </a:custGeom>
        </p:spPr>
      </p:pic>
      <p:pic>
        <p:nvPicPr>
          <p:cNvPr id="15" name="Gráfico 275">
            <a:extLst>
              <a:ext uri="{FF2B5EF4-FFF2-40B4-BE49-F238E27FC236}">
                <a16:creationId xmlns:a16="http://schemas.microsoft.com/office/drawing/2014/main" id="{EBEC2931-1AE1-4512-9CE0-BB5FCF4F91CA}"/>
              </a:ext>
            </a:extLst>
          </p:cNvPr>
          <p:cNvPicPr/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6150036" y="818030"/>
            <a:ext cx="1915463" cy="10168468"/>
          </a:xfrm>
          <a:prstGeom prst="rect">
            <a:avLst/>
          </a:prstGeom>
        </p:spPr>
      </p:pic>
      <p:sp>
        <p:nvSpPr>
          <p:cNvPr id="26" name="Retângulo 25">
            <a:extLst>
              <a:ext uri="{FF2B5EF4-FFF2-40B4-BE49-F238E27FC236}">
                <a16:creationId xmlns:a16="http://schemas.microsoft.com/office/drawing/2014/main" id="{FAAA61C8-8436-4718-A904-7DD3CFD370B1}"/>
              </a:ext>
            </a:extLst>
          </p:cNvPr>
          <p:cNvSpPr/>
          <p:nvPr userDrawn="1"/>
        </p:nvSpPr>
        <p:spPr>
          <a:xfrm>
            <a:off x="-600" y="2"/>
            <a:ext cx="12193200" cy="7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3598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B929F35-C2B3-4325-9C0C-91F0D1E44A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00" y="71755"/>
            <a:ext cx="7474260" cy="6786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983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áfico e conteúd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22276" y="1486308"/>
            <a:ext cx="5561081" cy="4984866"/>
          </a:xfrm>
        </p:spPr>
        <p:txBody>
          <a:bodyPr/>
          <a:lstStyle/>
          <a:p>
            <a:r>
              <a:rPr lang="pt-BR"/>
              <a:t>Clique no ícone para adicionar gráfico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383" y="649795"/>
            <a:ext cx="10401589" cy="477548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3" name="Espaço Reservado para Texto 9">
            <a:extLst>
              <a:ext uri="{FF2B5EF4-FFF2-40B4-BE49-F238E27FC236}">
                <a16:creationId xmlns:a16="http://schemas.microsoft.com/office/drawing/2014/main" id="{D1D98570-0A89-66A1-D6A1-AEB29DE22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1591" y="1486308"/>
            <a:ext cx="5498133" cy="498486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</p:txBody>
      </p:sp>
      <p:sp>
        <p:nvSpPr>
          <p:cNvPr id="2" name="Espaço Reservado para Texto 13">
            <a:extLst>
              <a:ext uri="{FF2B5EF4-FFF2-40B4-BE49-F238E27FC236}">
                <a16:creationId xmlns:a16="http://schemas.microsoft.com/office/drawing/2014/main" id="{4D4545BD-E86A-17D8-8CB2-321530EBA6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40" y="277080"/>
            <a:ext cx="4184650" cy="347663"/>
          </a:xfrm>
        </p:spPr>
        <p:txBody>
          <a:bodyPr>
            <a:norm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100" b="0" i="0" u="none" strike="noStrike" cap="all" spc="1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</p:spTree>
    <p:extLst>
      <p:ext uri="{BB962C8B-B14F-4D97-AF65-F5344CB8AC3E}">
        <p14:creationId xmlns:p14="http://schemas.microsoft.com/office/powerpoint/2010/main" val="19452444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5C01AD-FCF5-75AA-34C8-BEC75773F7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5411B3E-4DAB-DB08-A256-05BD8DC653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0318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1FD21CF0-8B64-28CD-3AED-D44ED776FC9F}"/>
              </a:ext>
            </a:extLst>
          </p:cNvPr>
          <p:cNvSpPr/>
          <p:nvPr userDrawn="1"/>
        </p:nvSpPr>
        <p:spPr>
          <a:xfrm>
            <a:off x="914400" y="1857271"/>
            <a:ext cx="5067300" cy="3145834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86585591-BA78-5F86-74B4-C6BBAFFD1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949" y="2124501"/>
            <a:ext cx="4184649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9BFCA3B0-88F8-CAC6-A24A-936EBBE34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92950" y="3817938"/>
            <a:ext cx="4184650" cy="1176337"/>
          </a:xfrm>
        </p:spPr>
        <p:txBody>
          <a:bodyPr>
            <a:normAutofit/>
          </a:bodyPr>
          <a:lstStyle>
            <a:lvl1pPr marR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637AC9F0-E48A-ACAF-2021-2D19AFEAF8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92950" y="1729890"/>
            <a:ext cx="4184650" cy="347663"/>
          </a:xfrm>
        </p:spPr>
        <p:txBody>
          <a:bodyPr>
            <a:norm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100" b="0" i="0" u="none" strike="noStrike" cap="all" spc="1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090738"/>
            <a:ext cx="4676775" cy="2674937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876090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339FF7-E679-BC64-FE01-C49096429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4562" y="2848767"/>
            <a:ext cx="68326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5400" b="1" i="0" u="none" strike="noStrike" kern="1200" cap="all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</a:t>
            </a:r>
            <a:r>
              <a:rPr lang="pt-BR" err="1"/>
              <a:t>títulO</a:t>
            </a:r>
            <a:endParaRPr lang="pt-BR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74D81A32-4C7C-0CCE-4AE1-180F087D38D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9BD457A8-84E7-7430-6D08-43149ED43C5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643448" y="4877887"/>
            <a:ext cx="1577057" cy="1853043"/>
          </a:xfrm>
          <a:prstGeom prst="rect">
            <a:avLst/>
          </a:prstGeom>
        </p:spPr>
      </p:pic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0D810081-EA73-009A-C87B-3D42044833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449218"/>
            <a:ext cx="6832600" cy="447675"/>
          </a:xfrm>
        </p:spPr>
        <p:txBody>
          <a:bodyPr lIns="144000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C8458586-A2E0-FAC7-BE44-2EA68F6CF9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4400" y="4205706"/>
            <a:ext cx="6832600" cy="447675"/>
          </a:xfrm>
        </p:spPr>
        <p:txBody>
          <a:bodyPr lIns="144000" anchor="t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24C9451C-4B61-4874-1435-D78622F233B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75600" y="-2844501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2570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7" name="Arco">
            <a:extLst>
              <a:ext uri="{FF2B5EF4-FFF2-40B4-BE49-F238E27FC236}">
                <a16:creationId xmlns:a16="http://schemas.microsoft.com/office/drawing/2014/main" id="{FEACC453-19FE-F672-C06C-EFABEC608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604789">
            <a:off x="6305041" y="536830"/>
            <a:ext cx="2987899" cy="2987899"/>
          </a:xfrm>
          <a:prstGeom prst="arc">
            <a:avLst>
              <a:gd name="adj1" fmla="val 14455503"/>
              <a:gd name="adj2" fmla="val 0"/>
            </a:avLst>
          </a:prstGeom>
          <a:ln w="127000" cap="rnd">
            <a:solidFill>
              <a:schemeClr val="bg2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: Rounded Corners 11">
            <a:extLst>
              <a:ext uri="{FF2B5EF4-FFF2-40B4-BE49-F238E27FC236}">
                <a16:creationId xmlns:a16="http://schemas.microsoft.com/office/drawing/2014/main" id="{5DDD0DB3-501E-0143-8384-4B5B0B19366F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1325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ipse 9">
            <a:extLst>
              <a:ext uri="{FF2B5EF4-FFF2-40B4-BE49-F238E27FC236}">
                <a16:creationId xmlns:a16="http://schemas.microsoft.com/office/drawing/2014/main" id="{1DA6EAF7-7A58-A806-93AB-79252ADE3D02}"/>
              </a:ext>
            </a:extLst>
          </p:cNvPr>
          <p:cNvSpPr/>
          <p:nvPr userDrawn="1"/>
        </p:nvSpPr>
        <p:spPr>
          <a:xfrm>
            <a:off x="5991426" y="507252"/>
            <a:ext cx="3400926" cy="3400926"/>
          </a:xfrm>
          <a:prstGeom prst="ellipse">
            <a:avLst/>
          </a:prstGeom>
          <a:noFill/>
          <a:ln w="57150" cap="rnd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825313D-A284-DF6E-CA0F-9FEA8047887C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1959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1FD21CF0-8B64-28CD-3AED-D44ED776FC9F}"/>
              </a:ext>
            </a:extLst>
          </p:cNvPr>
          <p:cNvSpPr/>
          <p:nvPr userDrawn="1"/>
        </p:nvSpPr>
        <p:spPr>
          <a:xfrm>
            <a:off x="914400" y="1857271"/>
            <a:ext cx="5067300" cy="3145834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86585591-BA78-5F86-74B4-C6BBAFFD1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949" y="2124501"/>
            <a:ext cx="4184649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9BFCA3B0-88F8-CAC6-A24A-936EBBE34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92950" y="3817938"/>
            <a:ext cx="4184650" cy="1176337"/>
          </a:xfrm>
        </p:spPr>
        <p:txBody>
          <a:bodyPr>
            <a:normAutofit/>
          </a:bodyPr>
          <a:lstStyle>
            <a:lvl1pPr marR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637AC9F0-E48A-ACAF-2021-2D19AFEAF8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92950" y="1729890"/>
            <a:ext cx="4184650" cy="347663"/>
          </a:xfrm>
        </p:spPr>
        <p:txBody>
          <a:bodyPr>
            <a:norm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100" b="0" i="0" u="none" strike="noStrike" cap="all" spc="1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090738"/>
            <a:ext cx="4676775" cy="2674937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1504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41749C37-0E1C-DA14-42C3-889AC06FF72F}"/>
              </a:ext>
            </a:extLst>
          </p:cNvPr>
          <p:cNvSpPr/>
          <p:nvPr userDrawn="1"/>
        </p:nvSpPr>
        <p:spPr>
          <a:xfrm>
            <a:off x="699837" y="2090737"/>
            <a:ext cx="5496426" cy="34004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02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84849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4802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2" name="Espaço Reservado para Gráfico 7">
            <a:extLst>
              <a:ext uri="{FF2B5EF4-FFF2-40B4-BE49-F238E27FC236}">
                <a16:creationId xmlns:a16="http://schemas.microsoft.com/office/drawing/2014/main" id="{794511CE-6AEF-6FC7-2BBF-27E054E2A87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096321" y="1365660"/>
            <a:ext cx="3298629" cy="1941860"/>
          </a:xfrm>
        </p:spPr>
        <p:txBody>
          <a:bodyPr/>
          <a:lstStyle/>
          <a:p>
            <a:endParaRPr lang="pt-BR"/>
          </a:p>
        </p:txBody>
      </p:sp>
      <p:sp>
        <p:nvSpPr>
          <p:cNvPr id="3" name="Espaço Reservado para Gráfico 7">
            <a:extLst>
              <a:ext uri="{FF2B5EF4-FFF2-40B4-BE49-F238E27FC236}">
                <a16:creationId xmlns:a16="http://schemas.microsoft.com/office/drawing/2014/main" id="{ABB453D1-8782-5B15-4AA3-58BC9064C3C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096321" y="4274791"/>
            <a:ext cx="3298629" cy="1941860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70311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ço Reservado para Imagem 19">
            <a:extLst>
              <a:ext uri="{FF2B5EF4-FFF2-40B4-BE49-F238E27FC236}">
                <a16:creationId xmlns:a16="http://schemas.microsoft.com/office/drawing/2014/main" id="{F9F2879B-1708-B68F-540E-494C085AD7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8390" y="1527646"/>
            <a:ext cx="4170660" cy="4170660"/>
          </a:xfrm>
          <a:prstGeom prst="ellipse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9647610-F492-48EE-CCB8-AD39FEEDC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2816225"/>
            <a:ext cx="50673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4800" b="1" i="0" u="none" strike="noStrike" cap="none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AD957BC-C55B-0228-16B7-203A598615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44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3E6DD1D3-15F5-4616-A348-AC448C8A14AB}" type="datetimeFigureOut">
              <a:rPr lang="pt-BR" smtClean="0"/>
              <a:t>16/05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4899489-77E4-8AF7-E1D1-B8CA56026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9760599-4CA6-3D27-2B73-A6CBCEE6E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F43D91A0-3E8E-4090-8D40-C0F9E742A5CB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Círculo (Outline Foto)">
            <a:extLst>
              <a:ext uri="{FF2B5EF4-FFF2-40B4-BE49-F238E27FC236}">
                <a16:creationId xmlns:a16="http://schemas.microsoft.com/office/drawing/2014/main" id="{DEE7ED6F-280B-4BC1-CF9E-415E582F157A}"/>
              </a:ext>
            </a:extLst>
          </p:cNvPr>
          <p:cNvSpPr/>
          <p:nvPr userDrawn="1"/>
        </p:nvSpPr>
        <p:spPr>
          <a:xfrm>
            <a:off x="805218" y="1404474"/>
            <a:ext cx="4417004" cy="4417004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10" name="Grafismo - Círculos">
            <a:extLst>
              <a:ext uri="{FF2B5EF4-FFF2-40B4-BE49-F238E27FC236}">
                <a16:creationId xmlns:a16="http://schemas.microsoft.com/office/drawing/2014/main" id="{B7C94C14-8C01-C13E-14B6-1ECF9CC706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135889" y="274462"/>
            <a:ext cx="1837252" cy="2158772"/>
          </a:xfrm>
          <a:prstGeom prst="rect">
            <a:avLst/>
          </a:prstGeom>
        </p:spPr>
      </p:pic>
      <p:grpSp>
        <p:nvGrpSpPr>
          <p:cNvPr id="12" name="Grafismo - Topografia">
            <a:extLst>
              <a:ext uri="{FF2B5EF4-FFF2-40B4-BE49-F238E27FC236}">
                <a16:creationId xmlns:a16="http://schemas.microsoft.com/office/drawing/2014/main" id="{7CCC5CB8-61CD-43A9-DF2F-4F45D1B21138}"/>
              </a:ext>
            </a:extLst>
          </p:cNvPr>
          <p:cNvGrpSpPr/>
          <p:nvPr userDrawn="1"/>
        </p:nvGrpSpPr>
        <p:grpSpPr>
          <a:xfrm rot="10800000">
            <a:off x="161924" y="6509730"/>
            <a:ext cx="12030075" cy="475316"/>
            <a:chOff x="0" y="6347706"/>
            <a:chExt cx="11687627" cy="461786"/>
          </a:xfrm>
        </p:grpSpPr>
        <p:pic>
          <p:nvPicPr>
            <p:cNvPr id="13" name="Google Shape;108;p2">
              <a:extLst>
                <a:ext uri="{FF2B5EF4-FFF2-40B4-BE49-F238E27FC236}">
                  <a16:creationId xmlns:a16="http://schemas.microsoft.com/office/drawing/2014/main" id="{60B6082C-721D-B164-36FA-60EC2677FB63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 b="61474"/>
            <a:stretch/>
          </p:blipFill>
          <p:spPr>
            <a:xfrm>
              <a:off x="0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" name="Google Shape;109;p2">
              <a:extLst>
                <a:ext uri="{FF2B5EF4-FFF2-40B4-BE49-F238E27FC236}">
                  <a16:creationId xmlns:a16="http://schemas.microsoft.com/office/drawing/2014/main" id="{780DA761-98CD-4A24-6B8B-363BFEA33EEB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 b="61474"/>
            <a:stretch/>
          </p:blipFill>
          <p:spPr>
            <a:xfrm>
              <a:off x="5838371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6" name="Logo">
            <a:extLst>
              <a:ext uri="{FF2B5EF4-FFF2-40B4-BE49-F238E27FC236}">
                <a16:creationId xmlns:a16="http://schemas.microsoft.com/office/drawing/2014/main" id="{1A7D77B8-D82B-EE46-59A3-B08122B3BBE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34286" y="1200983"/>
            <a:ext cx="1412714" cy="829797"/>
          </a:xfrm>
          <a:prstGeom prst="rect">
            <a:avLst/>
          </a:prstGeom>
        </p:spPr>
      </p:pic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A590A436-C4FC-90AF-4136-6CB7CD1825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4268788"/>
            <a:ext cx="5067300" cy="365125"/>
          </a:xfrm>
        </p:spPr>
        <p:txBody>
          <a:bodyPr>
            <a:normAutofit/>
          </a:bodyPr>
          <a:lstStyle>
            <a:lvl1pPr>
              <a:defRPr lang="pt-BR" sz="1100" b="0" i="0" u="none" strike="noStrike" kern="1200" cap="all" spc="1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25" name="Espaço Reservado para Imagem 24">
            <a:extLst>
              <a:ext uri="{FF2B5EF4-FFF2-40B4-BE49-F238E27FC236}">
                <a16:creationId xmlns:a16="http://schemas.microsoft.com/office/drawing/2014/main" id="{00B443F9-E135-FF3E-E804-8FB8BE3E81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" y="1862138"/>
            <a:ext cx="2419350" cy="2178050"/>
          </a:xfrm>
        </p:spPr>
        <p:txBody>
          <a:bodyPr/>
          <a:lstStyle>
            <a:lvl1pPr algn="ctr">
              <a:defRPr b="0">
                <a:solidFill>
                  <a:schemeClr val="accent2"/>
                </a:solidFill>
              </a:defRPr>
            </a:lvl1pPr>
          </a:lstStyle>
          <a:p>
            <a:r>
              <a:rPr lang="pt-BR"/>
              <a:t>Grafismo </a:t>
            </a:r>
            <a:br>
              <a:rPr lang="pt-BR"/>
            </a:br>
            <a:r>
              <a:rPr lang="pt-BR"/>
              <a:t>(opcional)</a:t>
            </a:r>
          </a:p>
        </p:txBody>
      </p:sp>
      <p:pic>
        <p:nvPicPr>
          <p:cNvPr id="26" name="Gráfico 25">
            <a:extLst>
              <a:ext uri="{FF2B5EF4-FFF2-40B4-BE49-F238E27FC236}">
                <a16:creationId xmlns:a16="http://schemas.microsoft.com/office/drawing/2014/main" id="{F1A091A3-AFD6-49CA-1829-37DA249DD2C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85919" y="-483062"/>
            <a:ext cx="1577057" cy="185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174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758649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2691731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2094225"/>
            <a:ext cx="2398847" cy="2398847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/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C5BCF3B3-3544-DAA9-5634-21C61FEECDBC}"/>
              </a:ext>
            </a:extLst>
          </p:cNvPr>
          <p:cNvSpPr/>
          <p:nvPr userDrawn="1"/>
        </p:nvSpPr>
        <p:spPr>
          <a:xfrm>
            <a:off x="931579" y="2094225"/>
            <a:ext cx="5055268" cy="36290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B5DF07B2-02A4-CB71-CA7E-52A98612C97F}"/>
              </a:ext>
            </a:extLst>
          </p:cNvPr>
          <p:cNvSpPr/>
          <p:nvPr userDrawn="1"/>
        </p:nvSpPr>
        <p:spPr>
          <a:xfrm>
            <a:off x="6223200" y="2094224"/>
            <a:ext cx="5054400" cy="362226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13" name="Título 8">
            <a:extLst>
              <a:ext uri="{FF2B5EF4-FFF2-40B4-BE49-F238E27FC236}">
                <a16:creationId xmlns:a16="http://schemas.microsoft.com/office/drawing/2014/main" id="{7CD44CD7-56CD-8EB0-6CDD-B78477F92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09" y="641350"/>
            <a:ext cx="5969841" cy="92174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0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7" name="Espaço Reservado para Conteúdo 16">
            <a:extLst>
              <a:ext uri="{FF2B5EF4-FFF2-40B4-BE49-F238E27FC236}">
                <a16:creationId xmlns:a16="http://schemas.microsoft.com/office/drawing/2014/main" id="{70EC372B-880B-D5C5-1EC1-C8E4283A3C5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0139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8" name="Espaço Reservado para Conteúdo 16">
            <a:extLst>
              <a:ext uri="{FF2B5EF4-FFF2-40B4-BE49-F238E27FC236}">
                <a16:creationId xmlns:a16="http://schemas.microsoft.com/office/drawing/2014/main" id="{DD68C171-7AB8-FCB5-8C97-0B242937AF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01326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7646924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ipse 10">
            <a:extLst>
              <a:ext uri="{FF2B5EF4-FFF2-40B4-BE49-F238E27FC236}">
                <a16:creationId xmlns:a16="http://schemas.microsoft.com/office/drawing/2014/main" id="{33D9D3EE-07B8-DDE0-D24C-617A25DF28E4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6178550" y="-394648"/>
            <a:ext cx="6228000" cy="62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spaço Reservado para Imagem 9">
            <a:extLst>
              <a:ext uri="{FF2B5EF4-FFF2-40B4-BE49-F238E27FC236}">
                <a16:creationId xmlns:a16="http://schemas.microsoft.com/office/drawing/2014/main" id="{FBBB0E18-BC75-0FC9-7E6F-94F735FD7A0A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78335" y="-394649"/>
            <a:ext cx="6228231" cy="5890966"/>
          </a:xfrm>
          <a:custGeom>
            <a:avLst/>
            <a:gdLst>
              <a:gd name="connsiteX0" fmla="*/ 0 w 6228000"/>
              <a:gd name="connsiteY0" fmla="*/ 3114000 h 6228000"/>
              <a:gd name="connsiteX1" fmla="*/ 3114000 w 6228000"/>
              <a:gd name="connsiteY1" fmla="*/ 0 h 6228000"/>
              <a:gd name="connsiteX2" fmla="*/ 6228000 w 6228000"/>
              <a:gd name="connsiteY2" fmla="*/ 3114000 h 6228000"/>
              <a:gd name="connsiteX3" fmla="*/ 3114000 w 6228000"/>
              <a:gd name="connsiteY3" fmla="*/ 6228000 h 6228000"/>
              <a:gd name="connsiteX4" fmla="*/ 0 w 6228000"/>
              <a:gd name="connsiteY4" fmla="*/ 3114000 h 6228000"/>
              <a:gd name="connsiteX0" fmla="*/ 335458 w 6563458"/>
              <a:gd name="connsiteY0" fmla="*/ 3114000 h 6235728"/>
              <a:gd name="connsiteX1" fmla="*/ 3449458 w 6563458"/>
              <a:gd name="connsiteY1" fmla="*/ 0 h 6235728"/>
              <a:gd name="connsiteX2" fmla="*/ 6563458 w 6563458"/>
              <a:gd name="connsiteY2" fmla="*/ 3114000 h 6235728"/>
              <a:gd name="connsiteX3" fmla="*/ 3449458 w 6563458"/>
              <a:gd name="connsiteY3" fmla="*/ 6228000 h 6235728"/>
              <a:gd name="connsiteX4" fmla="*/ 436684 w 6563458"/>
              <a:gd name="connsiteY4" fmla="*/ 3971566 h 6235728"/>
              <a:gd name="connsiteX5" fmla="*/ 335458 w 6563458"/>
              <a:gd name="connsiteY5" fmla="*/ 3114000 h 6235728"/>
              <a:gd name="connsiteX0" fmla="*/ 198652 w 6426652"/>
              <a:gd name="connsiteY0" fmla="*/ 3114000 h 6235728"/>
              <a:gd name="connsiteX1" fmla="*/ 3312652 w 6426652"/>
              <a:gd name="connsiteY1" fmla="*/ 0 h 6235728"/>
              <a:gd name="connsiteX2" fmla="*/ 6426652 w 6426652"/>
              <a:gd name="connsiteY2" fmla="*/ 3114000 h 6235728"/>
              <a:gd name="connsiteX3" fmla="*/ 3312652 w 6426652"/>
              <a:gd name="connsiteY3" fmla="*/ 6228000 h 6235728"/>
              <a:gd name="connsiteX4" fmla="*/ 299878 w 6426652"/>
              <a:gd name="connsiteY4" fmla="*/ 3971566 h 6235728"/>
              <a:gd name="connsiteX5" fmla="*/ 198652 w 6426652"/>
              <a:gd name="connsiteY5" fmla="*/ 3114000 h 6235728"/>
              <a:gd name="connsiteX0" fmla="*/ 0 w 6228000"/>
              <a:gd name="connsiteY0" fmla="*/ 3114000 h 6235728"/>
              <a:gd name="connsiteX1" fmla="*/ 3114000 w 6228000"/>
              <a:gd name="connsiteY1" fmla="*/ 0 h 6235728"/>
              <a:gd name="connsiteX2" fmla="*/ 6228000 w 6228000"/>
              <a:gd name="connsiteY2" fmla="*/ 3114000 h 6235728"/>
              <a:gd name="connsiteX3" fmla="*/ 3114000 w 6228000"/>
              <a:gd name="connsiteY3" fmla="*/ 6228000 h 6235728"/>
              <a:gd name="connsiteX4" fmla="*/ 101226 w 6228000"/>
              <a:gd name="connsiteY4" fmla="*/ 3971566 h 6235728"/>
              <a:gd name="connsiteX5" fmla="*/ 0 w 6228000"/>
              <a:gd name="connsiteY5" fmla="*/ 3114000 h 6235728"/>
              <a:gd name="connsiteX0" fmla="*/ 3161 w 6231161"/>
              <a:gd name="connsiteY0" fmla="*/ 3114000 h 6235728"/>
              <a:gd name="connsiteX1" fmla="*/ 3117161 w 6231161"/>
              <a:gd name="connsiteY1" fmla="*/ 0 h 6235728"/>
              <a:gd name="connsiteX2" fmla="*/ 6231161 w 6231161"/>
              <a:gd name="connsiteY2" fmla="*/ 3114000 h 6235728"/>
              <a:gd name="connsiteX3" fmla="*/ 3117161 w 6231161"/>
              <a:gd name="connsiteY3" fmla="*/ 6228000 h 6235728"/>
              <a:gd name="connsiteX4" fmla="*/ 104387 w 6231161"/>
              <a:gd name="connsiteY4" fmla="*/ 3971566 h 6235728"/>
              <a:gd name="connsiteX5" fmla="*/ 3161 w 6231161"/>
              <a:gd name="connsiteY5" fmla="*/ 3114000 h 6235728"/>
              <a:gd name="connsiteX0" fmla="*/ 3161 w 6231161"/>
              <a:gd name="connsiteY0" fmla="*/ 3114000 h 6234127"/>
              <a:gd name="connsiteX1" fmla="*/ 3117161 w 6231161"/>
              <a:gd name="connsiteY1" fmla="*/ 0 h 6234127"/>
              <a:gd name="connsiteX2" fmla="*/ 6231161 w 6231161"/>
              <a:gd name="connsiteY2" fmla="*/ 3114000 h 6234127"/>
              <a:gd name="connsiteX3" fmla="*/ 3117161 w 6231161"/>
              <a:gd name="connsiteY3" fmla="*/ 6228000 h 6234127"/>
              <a:gd name="connsiteX4" fmla="*/ 104387 w 6231161"/>
              <a:gd name="connsiteY4" fmla="*/ 3971566 h 6234127"/>
              <a:gd name="connsiteX5" fmla="*/ 3161 w 6231161"/>
              <a:gd name="connsiteY5" fmla="*/ 3114000 h 6234127"/>
              <a:gd name="connsiteX0" fmla="*/ 232739 w 6460739"/>
              <a:gd name="connsiteY0" fmla="*/ 3114000 h 4134120"/>
              <a:gd name="connsiteX1" fmla="*/ 3346739 w 6460739"/>
              <a:gd name="connsiteY1" fmla="*/ 0 h 4134120"/>
              <a:gd name="connsiteX2" fmla="*/ 6460739 w 6460739"/>
              <a:gd name="connsiteY2" fmla="*/ 3114000 h 4134120"/>
              <a:gd name="connsiteX3" fmla="*/ 4624210 w 6460739"/>
              <a:gd name="connsiteY3" fmla="*/ 3968895 h 4134120"/>
              <a:gd name="connsiteX4" fmla="*/ 333965 w 6460739"/>
              <a:gd name="connsiteY4" fmla="*/ 3971566 h 4134120"/>
              <a:gd name="connsiteX5" fmla="*/ 232739 w 6460739"/>
              <a:gd name="connsiteY5" fmla="*/ 3114000 h 4134120"/>
              <a:gd name="connsiteX0" fmla="*/ 232739 w 6533426"/>
              <a:gd name="connsiteY0" fmla="*/ 3114000 h 4101226"/>
              <a:gd name="connsiteX1" fmla="*/ 3346739 w 6533426"/>
              <a:gd name="connsiteY1" fmla="*/ 0 h 4101226"/>
              <a:gd name="connsiteX2" fmla="*/ 6460739 w 6533426"/>
              <a:gd name="connsiteY2" fmla="*/ 3114000 h 4101226"/>
              <a:gd name="connsiteX3" fmla="*/ 5470743 w 6533426"/>
              <a:gd name="connsiteY3" fmla="*/ 4052249 h 4101226"/>
              <a:gd name="connsiteX4" fmla="*/ 4624210 w 6533426"/>
              <a:gd name="connsiteY4" fmla="*/ 3968895 h 4101226"/>
              <a:gd name="connsiteX5" fmla="*/ 333965 w 6533426"/>
              <a:gd name="connsiteY5" fmla="*/ 3971566 h 4101226"/>
              <a:gd name="connsiteX6" fmla="*/ 232739 w 6533426"/>
              <a:gd name="connsiteY6" fmla="*/ 3114000 h 4101226"/>
              <a:gd name="connsiteX0" fmla="*/ 232739 w 6507150"/>
              <a:gd name="connsiteY0" fmla="*/ 3114000 h 5929534"/>
              <a:gd name="connsiteX1" fmla="*/ 3346739 w 6507150"/>
              <a:gd name="connsiteY1" fmla="*/ 0 h 5929534"/>
              <a:gd name="connsiteX2" fmla="*/ 6460739 w 6507150"/>
              <a:gd name="connsiteY2" fmla="*/ 3114000 h 5929534"/>
              <a:gd name="connsiteX3" fmla="*/ 4731155 w 6507150"/>
              <a:gd name="connsiteY3" fmla="*/ 5921390 h 5929534"/>
              <a:gd name="connsiteX4" fmla="*/ 4624210 w 6507150"/>
              <a:gd name="connsiteY4" fmla="*/ 3968895 h 5929534"/>
              <a:gd name="connsiteX5" fmla="*/ 333965 w 6507150"/>
              <a:gd name="connsiteY5" fmla="*/ 3971566 h 5929534"/>
              <a:gd name="connsiteX6" fmla="*/ 232739 w 6507150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3162 w 6233122"/>
              <a:gd name="connsiteY0" fmla="*/ 3114000 h 5929534"/>
              <a:gd name="connsiteX1" fmla="*/ 3117162 w 6233122"/>
              <a:gd name="connsiteY1" fmla="*/ 0 h 5929534"/>
              <a:gd name="connsiteX2" fmla="*/ 6231162 w 6233122"/>
              <a:gd name="connsiteY2" fmla="*/ 3114000 h 5929534"/>
              <a:gd name="connsiteX3" fmla="*/ 4501578 w 6233122"/>
              <a:gd name="connsiteY3" fmla="*/ 5921390 h 5929534"/>
              <a:gd name="connsiteX4" fmla="*/ 4394633 w 6233122"/>
              <a:gd name="connsiteY4" fmla="*/ 3968895 h 5929534"/>
              <a:gd name="connsiteX5" fmla="*/ 104388 w 6233122"/>
              <a:gd name="connsiteY5" fmla="*/ 3971566 h 5929534"/>
              <a:gd name="connsiteX6" fmla="*/ 3162 w 6233122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83173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37653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3019 w 6412979"/>
              <a:gd name="connsiteY0" fmla="*/ 3114000 h 5904331"/>
              <a:gd name="connsiteX1" fmla="*/ 3297019 w 6412979"/>
              <a:gd name="connsiteY1" fmla="*/ 0 h 5904331"/>
              <a:gd name="connsiteX2" fmla="*/ 6411019 w 6412979"/>
              <a:gd name="connsiteY2" fmla="*/ 3114000 h 5904331"/>
              <a:gd name="connsiteX3" fmla="*/ 4667787 w 6412979"/>
              <a:gd name="connsiteY3" fmla="*/ 5904331 h 5904331"/>
              <a:gd name="connsiteX4" fmla="*/ 4664158 w 6412979"/>
              <a:gd name="connsiteY4" fmla="*/ 4147888 h 5904331"/>
              <a:gd name="connsiteX5" fmla="*/ 4574490 w 6412979"/>
              <a:gd name="connsiteY5" fmla="*/ 3968895 h 5904331"/>
              <a:gd name="connsiteX6" fmla="*/ 355896 w 6412979"/>
              <a:gd name="connsiteY6" fmla="*/ 3968154 h 5904331"/>
              <a:gd name="connsiteX7" fmla="*/ 313146 w 6412979"/>
              <a:gd name="connsiteY7" fmla="*/ 3984011 h 5904331"/>
              <a:gd name="connsiteX8" fmla="*/ 183019 w 6412979"/>
              <a:gd name="connsiteY8" fmla="*/ 3114000 h 5904331"/>
              <a:gd name="connsiteX0" fmla="*/ 144151 w 6374111"/>
              <a:gd name="connsiteY0" fmla="*/ 3114000 h 5904331"/>
              <a:gd name="connsiteX1" fmla="*/ 3258151 w 6374111"/>
              <a:gd name="connsiteY1" fmla="*/ 0 h 5904331"/>
              <a:gd name="connsiteX2" fmla="*/ 6372151 w 6374111"/>
              <a:gd name="connsiteY2" fmla="*/ 3114000 h 5904331"/>
              <a:gd name="connsiteX3" fmla="*/ 4628919 w 6374111"/>
              <a:gd name="connsiteY3" fmla="*/ 5904331 h 5904331"/>
              <a:gd name="connsiteX4" fmla="*/ 4625290 w 6374111"/>
              <a:gd name="connsiteY4" fmla="*/ 4147888 h 5904331"/>
              <a:gd name="connsiteX5" fmla="*/ 4535622 w 6374111"/>
              <a:gd name="connsiteY5" fmla="*/ 3968895 h 5904331"/>
              <a:gd name="connsiteX6" fmla="*/ 317028 w 6374111"/>
              <a:gd name="connsiteY6" fmla="*/ 3968154 h 5904331"/>
              <a:gd name="connsiteX7" fmla="*/ 274278 w 6374111"/>
              <a:gd name="connsiteY7" fmla="*/ 3984011 h 5904331"/>
              <a:gd name="connsiteX8" fmla="*/ 144151 w 6374111"/>
              <a:gd name="connsiteY8" fmla="*/ 3114000 h 5904331"/>
              <a:gd name="connsiteX0" fmla="*/ 141340 w 6371300"/>
              <a:gd name="connsiteY0" fmla="*/ 3114000 h 5904331"/>
              <a:gd name="connsiteX1" fmla="*/ 3255340 w 6371300"/>
              <a:gd name="connsiteY1" fmla="*/ 0 h 5904331"/>
              <a:gd name="connsiteX2" fmla="*/ 6369340 w 6371300"/>
              <a:gd name="connsiteY2" fmla="*/ 3114000 h 5904331"/>
              <a:gd name="connsiteX3" fmla="*/ 4626108 w 6371300"/>
              <a:gd name="connsiteY3" fmla="*/ 5904331 h 5904331"/>
              <a:gd name="connsiteX4" fmla="*/ 4622479 w 6371300"/>
              <a:gd name="connsiteY4" fmla="*/ 4147888 h 5904331"/>
              <a:gd name="connsiteX5" fmla="*/ 4532811 w 6371300"/>
              <a:gd name="connsiteY5" fmla="*/ 3968895 h 5904331"/>
              <a:gd name="connsiteX6" fmla="*/ 314217 w 6371300"/>
              <a:gd name="connsiteY6" fmla="*/ 3968154 h 5904331"/>
              <a:gd name="connsiteX7" fmla="*/ 281702 w 6371300"/>
              <a:gd name="connsiteY7" fmla="*/ 3987423 h 5904331"/>
              <a:gd name="connsiteX8" fmla="*/ 141340 w 6371300"/>
              <a:gd name="connsiteY8" fmla="*/ 3114000 h 5904331"/>
              <a:gd name="connsiteX0" fmla="*/ 181 w 6230141"/>
              <a:gd name="connsiteY0" fmla="*/ 3114000 h 5904331"/>
              <a:gd name="connsiteX1" fmla="*/ 3114181 w 6230141"/>
              <a:gd name="connsiteY1" fmla="*/ 0 h 5904331"/>
              <a:gd name="connsiteX2" fmla="*/ 6228181 w 6230141"/>
              <a:gd name="connsiteY2" fmla="*/ 3114000 h 5904331"/>
              <a:gd name="connsiteX3" fmla="*/ 4484949 w 6230141"/>
              <a:gd name="connsiteY3" fmla="*/ 5904331 h 5904331"/>
              <a:gd name="connsiteX4" fmla="*/ 4481320 w 6230141"/>
              <a:gd name="connsiteY4" fmla="*/ 4147888 h 5904331"/>
              <a:gd name="connsiteX5" fmla="*/ 4391652 w 6230141"/>
              <a:gd name="connsiteY5" fmla="*/ 3968895 h 5904331"/>
              <a:gd name="connsiteX6" fmla="*/ 173058 w 6230141"/>
              <a:gd name="connsiteY6" fmla="*/ 3968154 h 5904331"/>
              <a:gd name="connsiteX7" fmla="*/ 140543 w 6230141"/>
              <a:gd name="connsiteY7" fmla="*/ 3987423 h 5904331"/>
              <a:gd name="connsiteX8" fmla="*/ 181 w 6230141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94243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6"/>
              <a:gd name="connsiteY0" fmla="*/ 3114000 h 5904331"/>
              <a:gd name="connsiteX1" fmla="*/ 3114199 w 6228216"/>
              <a:gd name="connsiteY1" fmla="*/ 0 h 5904331"/>
              <a:gd name="connsiteX2" fmla="*/ 6228199 w 6228216"/>
              <a:gd name="connsiteY2" fmla="*/ 3114000 h 5904331"/>
              <a:gd name="connsiteX3" fmla="*/ 4474456 w 6228216"/>
              <a:gd name="connsiteY3" fmla="*/ 5904331 h 5904331"/>
              <a:gd name="connsiteX4" fmla="*/ 4481338 w 6228216"/>
              <a:gd name="connsiteY4" fmla="*/ 4147888 h 5904331"/>
              <a:gd name="connsiteX5" fmla="*/ 4391670 w 6228216"/>
              <a:gd name="connsiteY5" fmla="*/ 3968895 h 5904331"/>
              <a:gd name="connsiteX6" fmla="*/ 194243 w 6228216"/>
              <a:gd name="connsiteY6" fmla="*/ 3968154 h 5904331"/>
              <a:gd name="connsiteX7" fmla="*/ 126914 w 6228216"/>
              <a:gd name="connsiteY7" fmla="*/ 3990835 h 5904331"/>
              <a:gd name="connsiteX8" fmla="*/ 199 w 6228216"/>
              <a:gd name="connsiteY8" fmla="*/ 3114000 h 5904331"/>
              <a:gd name="connsiteX0" fmla="*/ 199 w 6228216"/>
              <a:gd name="connsiteY0" fmla="*/ 3114000 h 5915833"/>
              <a:gd name="connsiteX1" fmla="*/ 3114199 w 6228216"/>
              <a:gd name="connsiteY1" fmla="*/ 0 h 5915833"/>
              <a:gd name="connsiteX2" fmla="*/ 6228199 w 6228216"/>
              <a:gd name="connsiteY2" fmla="*/ 3114000 h 5915833"/>
              <a:gd name="connsiteX3" fmla="*/ 4480207 w 6228216"/>
              <a:gd name="connsiteY3" fmla="*/ 5915833 h 5915833"/>
              <a:gd name="connsiteX4" fmla="*/ 4481338 w 6228216"/>
              <a:gd name="connsiteY4" fmla="*/ 4147888 h 5915833"/>
              <a:gd name="connsiteX5" fmla="*/ 4391670 w 6228216"/>
              <a:gd name="connsiteY5" fmla="*/ 3968895 h 5915833"/>
              <a:gd name="connsiteX6" fmla="*/ 194243 w 6228216"/>
              <a:gd name="connsiteY6" fmla="*/ 3968154 h 5915833"/>
              <a:gd name="connsiteX7" fmla="*/ 126914 w 6228216"/>
              <a:gd name="connsiteY7" fmla="*/ 3990835 h 5915833"/>
              <a:gd name="connsiteX8" fmla="*/ 199 w 6228216"/>
              <a:gd name="connsiteY8" fmla="*/ 3114000 h 5915833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6649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7664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9443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80207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52241"/>
              <a:gd name="connsiteX1" fmla="*/ 3114199 w 6228217"/>
              <a:gd name="connsiteY1" fmla="*/ 0 h 5952241"/>
              <a:gd name="connsiteX2" fmla="*/ 6228199 w 6228217"/>
              <a:gd name="connsiteY2" fmla="*/ 3114000 h 5952241"/>
              <a:gd name="connsiteX3" fmla="*/ 4476649 w 6228217"/>
              <a:gd name="connsiteY3" fmla="*/ 5952241 h 5952241"/>
              <a:gd name="connsiteX4" fmla="*/ 4481338 w 6228217"/>
              <a:gd name="connsiteY4" fmla="*/ 4147888 h 5952241"/>
              <a:gd name="connsiteX5" fmla="*/ 4391670 w 6228217"/>
              <a:gd name="connsiteY5" fmla="*/ 3968895 h 5952241"/>
              <a:gd name="connsiteX6" fmla="*/ 194243 w 6228217"/>
              <a:gd name="connsiteY6" fmla="*/ 3968154 h 5952241"/>
              <a:gd name="connsiteX7" fmla="*/ 126914 w 6228217"/>
              <a:gd name="connsiteY7" fmla="*/ 3990835 h 5952241"/>
              <a:gd name="connsiteX8" fmla="*/ 199 w 6228217"/>
              <a:gd name="connsiteY8" fmla="*/ 3114000 h 5952241"/>
              <a:gd name="connsiteX0" fmla="*/ 199 w 6228216"/>
              <a:gd name="connsiteY0" fmla="*/ 3114000 h 5977146"/>
              <a:gd name="connsiteX1" fmla="*/ 3114199 w 6228216"/>
              <a:gd name="connsiteY1" fmla="*/ 0 h 5977146"/>
              <a:gd name="connsiteX2" fmla="*/ 6228199 w 6228216"/>
              <a:gd name="connsiteY2" fmla="*/ 3114000 h 5977146"/>
              <a:gd name="connsiteX3" fmla="*/ 4469533 w 6228216"/>
              <a:gd name="connsiteY3" fmla="*/ 5977146 h 5977146"/>
              <a:gd name="connsiteX4" fmla="*/ 4481338 w 6228216"/>
              <a:gd name="connsiteY4" fmla="*/ 4147888 h 5977146"/>
              <a:gd name="connsiteX5" fmla="*/ 4391670 w 6228216"/>
              <a:gd name="connsiteY5" fmla="*/ 3968895 h 5977146"/>
              <a:gd name="connsiteX6" fmla="*/ 194243 w 6228216"/>
              <a:gd name="connsiteY6" fmla="*/ 3968154 h 5977146"/>
              <a:gd name="connsiteX7" fmla="*/ 126914 w 6228216"/>
              <a:gd name="connsiteY7" fmla="*/ 3990835 h 5977146"/>
              <a:gd name="connsiteX8" fmla="*/ 199 w 6228216"/>
              <a:gd name="connsiteY8" fmla="*/ 3114000 h 5977146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5"/>
              <a:gd name="connsiteY0" fmla="*/ 3114000 h 5927335"/>
              <a:gd name="connsiteX1" fmla="*/ 3114199 w 6228215"/>
              <a:gd name="connsiteY1" fmla="*/ 0 h 5927335"/>
              <a:gd name="connsiteX2" fmla="*/ 6228199 w 6228215"/>
              <a:gd name="connsiteY2" fmla="*/ 3114000 h 5927335"/>
              <a:gd name="connsiteX3" fmla="*/ 4473091 w 6228215"/>
              <a:gd name="connsiteY3" fmla="*/ 5927335 h 5927335"/>
              <a:gd name="connsiteX4" fmla="*/ 4481338 w 6228215"/>
              <a:gd name="connsiteY4" fmla="*/ 4147888 h 5927335"/>
              <a:gd name="connsiteX5" fmla="*/ 4391670 w 6228215"/>
              <a:gd name="connsiteY5" fmla="*/ 3968895 h 5927335"/>
              <a:gd name="connsiteX6" fmla="*/ 194243 w 6228215"/>
              <a:gd name="connsiteY6" fmla="*/ 3968154 h 5927335"/>
              <a:gd name="connsiteX7" fmla="*/ 126914 w 6228215"/>
              <a:gd name="connsiteY7" fmla="*/ 3990835 h 5927335"/>
              <a:gd name="connsiteX8" fmla="*/ 199 w 6228215"/>
              <a:gd name="connsiteY8" fmla="*/ 3114000 h 5927335"/>
              <a:gd name="connsiteX0" fmla="*/ 199 w 6228216"/>
              <a:gd name="connsiteY0" fmla="*/ 3114000 h 5911748"/>
              <a:gd name="connsiteX1" fmla="*/ 3114199 w 6228216"/>
              <a:gd name="connsiteY1" fmla="*/ 0 h 5911748"/>
              <a:gd name="connsiteX2" fmla="*/ 6228199 w 6228216"/>
              <a:gd name="connsiteY2" fmla="*/ 3114000 h 5911748"/>
              <a:gd name="connsiteX3" fmla="*/ 4483482 w 6228216"/>
              <a:gd name="connsiteY3" fmla="*/ 5911748 h 5911748"/>
              <a:gd name="connsiteX4" fmla="*/ 4481338 w 6228216"/>
              <a:gd name="connsiteY4" fmla="*/ 4147888 h 5911748"/>
              <a:gd name="connsiteX5" fmla="*/ 4391670 w 6228216"/>
              <a:gd name="connsiteY5" fmla="*/ 3968895 h 5911748"/>
              <a:gd name="connsiteX6" fmla="*/ 194243 w 6228216"/>
              <a:gd name="connsiteY6" fmla="*/ 3968154 h 5911748"/>
              <a:gd name="connsiteX7" fmla="*/ 126914 w 6228216"/>
              <a:gd name="connsiteY7" fmla="*/ 3990835 h 5911748"/>
              <a:gd name="connsiteX8" fmla="*/ 199 w 6228216"/>
              <a:gd name="connsiteY8" fmla="*/ 3114000 h 5911748"/>
              <a:gd name="connsiteX0" fmla="*/ 199 w 6228216"/>
              <a:gd name="connsiteY0" fmla="*/ 3114000 h 5896162"/>
              <a:gd name="connsiteX1" fmla="*/ 3114199 w 6228216"/>
              <a:gd name="connsiteY1" fmla="*/ 0 h 5896162"/>
              <a:gd name="connsiteX2" fmla="*/ 6228199 w 6228216"/>
              <a:gd name="connsiteY2" fmla="*/ 3114000 h 5896162"/>
              <a:gd name="connsiteX3" fmla="*/ 4483482 w 6228216"/>
              <a:gd name="connsiteY3" fmla="*/ 5896162 h 5896162"/>
              <a:gd name="connsiteX4" fmla="*/ 4481338 w 6228216"/>
              <a:gd name="connsiteY4" fmla="*/ 4147888 h 5896162"/>
              <a:gd name="connsiteX5" fmla="*/ 4391670 w 6228216"/>
              <a:gd name="connsiteY5" fmla="*/ 3968895 h 5896162"/>
              <a:gd name="connsiteX6" fmla="*/ 194243 w 6228216"/>
              <a:gd name="connsiteY6" fmla="*/ 3968154 h 5896162"/>
              <a:gd name="connsiteX7" fmla="*/ 126914 w 6228216"/>
              <a:gd name="connsiteY7" fmla="*/ 3990835 h 5896162"/>
              <a:gd name="connsiteX8" fmla="*/ 199 w 6228216"/>
              <a:gd name="connsiteY8" fmla="*/ 3114000 h 5896162"/>
              <a:gd name="connsiteX0" fmla="*/ 199 w 6228216"/>
              <a:gd name="connsiteY0" fmla="*/ 3114000 h 5880575"/>
              <a:gd name="connsiteX1" fmla="*/ 3114199 w 6228216"/>
              <a:gd name="connsiteY1" fmla="*/ 0 h 5880575"/>
              <a:gd name="connsiteX2" fmla="*/ 6228199 w 6228216"/>
              <a:gd name="connsiteY2" fmla="*/ 3114000 h 5880575"/>
              <a:gd name="connsiteX3" fmla="*/ 4488677 w 6228216"/>
              <a:gd name="connsiteY3" fmla="*/ 5880575 h 5880575"/>
              <a:gd name="connsiteX4" fmla="*/ 4481338 w 6228216"/>
              <a:gd name="connsiteY4" fmla="*/ 4147888 h 5880575"/>
              <a:gd name="connsiteX5" fmla="*/ 4391670 w 6228216"/>
              <a:gd name="connsiteY5" fmla="*/ 3968895 h 5880575"/>
              <a:gd name="connsiteX6" fmla="*/ 194243 w 6228216"/>
              <a:gd name="connsiteY6" fmla="*/ 3968154 h 5880575"/>
              <a:gd name="connsiteX7" fmla="*/ 126914 w 6228216"/>
              <a:gd name="connsiteY7" fmla="*/ 3990835 h 5880575"/>
              <a:gd name="connsiteX8" fmla="*/ 199 w 6228216"/>
              <a:gd name="connsiteY8" fmla="*/ 3114000 h 5880575"/>
              <a:gd name="connsiteX0" fmla="*/ 199 w 6228216"/>
              <a:gd name="connsiteY0" fmla="*/ 3114000 h 5890966"/>
              <a:gd name="connsiteX1" fmla="*/ 3114199 w 6228216"/>
              <a:gd name="connsiteY1" fmla="*/ 0 h 5890966"/>
              <a:gd name="connsiteX2" fmla="*/ 6228199 w 6228216"/>
              <a:gd name="connsiteY2" fmla="*/ 3114000 h 5890966"/>
              <a:gd name="connsiteX3" fmla="*/ 4483481 w 6228216"/>
              <a:gd name="connsiteY3" fmla="*/ 5890966 h 5890966"/>
              <a:gd name="connsiteX4" fmla="*/ 4481338 w 6228216"/>
              <a:gd name="connsiteY4" fmla="*/ 4147888 h 5890966"/>
              <a:gd name="connsiteX5" fmla="*/ 4391670 w 6228216"/>
              <a:gd name="connsiteY5" fmla="*/ 3968895 h 5890966"/>
              <a:gd name="connsiteX6" fmla="*/ 194243 w 6228216"/>
              <a:gd name="connsiteY6" fmla="*/ 3968154 h 5890966"/>
              <a:gd name="connsiteX7" fmla="*/ 126914 w 6228216"/>
              <a:gd name="connsiteY7" fmla="*/ 3990835 h 5890966"/>
              <a:gd name="connsiteX8" fmla="*/ 199 w 6228216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4251 w 6228224"/>
              <a:gd name="connsiteY6" fmla="*/ 3968154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14 w 6228231"/>
              <a:gd name="connsiteY0" fmla="*/ 3114000 h 5890966"/>
              <a:gd name="connsiteX1" fmla="*/ 3114214 w 6228231"/>
              <a:gd name="connsiteY1" fmla="*/ 0 h 5890966"/>
              <a:gd name="connsiteX2" fmla="*/ 6228214 w 6228231"/>
              <a:gd name="connsiteY2" fmla="*/ 3114000 h 5890966"/>
              <a:gd name="connsiteX3" fmla="*/ 4483496 w 6228231"/>
              <a:gd name="connsiteY3" fmla="*/ 5890966 h 5890966"/>
              <a:gd name="connsiteX4" fmla="*/ 4481353 w 6228231"/>
              <a:gd name="connsiteY4" fmla="*/ 4147888 h 5890966"/>
              <a:gd name="connsiteX5" fmla="*/ 4370903 w 6228231"/>
              <a:gd name="connsiteY5" fmla="*/ 3953309 h 5890966"/>
              <a:gd name="connsiteX6" fmla="*/ 227024 w 6228231"/>
              <a:gd name="connsiteY6" fmla="*/ 3938182 h 5890966"/>
              <a:gd name="connsiteX7" fmla="*/ 117138 w 6228231"/>
              <a:gd name="connsiteY7" fmla="*/ 3956268 h 5890966"/>
              <a:gd name="connsiteX8" fmla="*/ 214 w 6228231"/>
              <a:gd name="connsiteY8" fmla="*/ 3114000 h 5890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28231" h="5890966">
                <a:moveTo>
                  <a:pt x="214" y="3114000"/>
                </a:moveTo>
                <a:cubicBezTo>
                  <a:pt x="-4330" y="1411998"/>
                  <a:pt x="1394399" y="0"/>
                  <a:pt x="3114214" y="0"/>
                </a:cubicBezTo>
                <a:cubicBezTo>
                  <a:pt x="4834029" y="0"/>
                  <a:pt x="6228009" y="1324528"/>
                  <a:pt x="6228214" y="3114000"/>
                </a:cubicBezTo>
                <a:cubicBezTo>
                  <a:pt x="6232591" y="4448745"/>
                  <a:pt x="5391347" y="5466913"/>
                  <a:pt x="4483496" y="5890966"/>
                </a:cubicBezTo>
                <a:cubicBezTo>
                  <a:pt x="4470286" y="5884723"/>
                  <a:pt x="4490830" y="4173263"/>
                  <a:pt x="4481353" y="4147888"/>
                </a:cubicBezTo>
                <a:cubicBezTo>
                  <a:pt x="4476337" y="4153536"/>
                  <a:pt x="4500847" y="3989338"/>
                  <a:pt x="4370903" y="3953309"/>
                </a:cubicBezTo>
                <a:lnTo>
                  <a:pt x="227024" y="3938182"/>
                </a:lnTo>
                <a:cubicBezTo>
                  <a:pt x="229896" y="3935584"/>
                  <a:pt x="121453" y="3950046"/>
                  <a:pt x="117138" y="3956268"/>
                </a:cubicBezTo>
                <a:cubicBezTo>
                  <a:pt x="115621" y="3943562"/>
                  <a:pt x="-5779" y="3527224"/>
                  <a:pt x="214" y="3114000"/>
                </a:cubicBezTo>
                <a:close/>
              </a:path>
            </a:pathLst>
          </a:custGeom>
        </p:spPr>
        <p:txBody>
          <a:bodyPr/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endParaRPr lang="pt-BR"/>
          </a:p>
          <a:p>
            <a:r>
              <a:rPr lang="pt-BR"/>
              <a:t>Imagem</a:t>
            </a:r>
            <a:br>
              <a:rPr lang="pt-BR"/>
            </a:br>
            <a:r>
              <a:rPr lang="pt-BR"/>
              <a:t>(opcional)</a:t>
            </a:r>
          </a:p>
        </p:txBody>
      </p:sp>
      <p:sp>
        <p:nvSpPr>
          <p:cNvPr id="45" name="Espaço Reservado para Texto 44">
            <a:extLst>
              <a:ext uri="{FF2B5EF4-FFF2-40B4-BE49-F238E27FC236}">
                <a16:creationId xmlns:a16="http://schemas.microsoft.com/office/drawing/2014/main" id="{06E30179-074A-9B58-6298-4663401723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38366" y="1329766"/>
            <a:ext cx="3385184" cy="1534684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lang="pt-BR" sz="1200" b="0" i="0" u="none" strike="noStrike" kern="1200" cap="none" dirty="0" smtClean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Freeform: Shape 24">
            <a:extLst>
              <a:ext uri="{FF2B5EF4-FFF2-40B4-BE49-F238E27FC236}">
                <a16:creationId xmlns:a16="http://schemas.microsoft.com/office/drawing/2014/main" id="{FD415740-21AF-903C-1A5A-37F7E5CC6A3C}"/>
              </a:ext>
            </a:extLst>
          </p:cNvPr>
          <p:cNvSpPr/>
          <p:nvPr userDrawn="1"/>
        </p:nvSpPr>
        <p:spPr>
          <a:xfrm>
            <a:off x="2" y="3886414"/>
            <a:ext cx="2848573" cy="2965721"/>
          </a:xfrm>
          <a:custGeom>
            <a:avLst/>
            <a:gdLst>
              <a:gd name="connsiteX0" fmla="*/ 1162912 w 2848573"/>
              <a:gd name="connsiteY0" fmla="*/ 0 h 2965721"/>
              <a:gd name="connsiteX1" fmla="*/ 2848573 w 2848573"/>
              <a:gd name="connsiteY1" fmla="*/ 1685661 h 2965721"/>
              <a:gd name="connsiteX2" fmla="*/ 2354855 w 2848573"/>
              <a:gd name="connsiteY2" fmla="*/ 2877604 h 2965721"/>
              <a:gd name="connsiteX3" fmla="*/ 2257901 w 2848573"/>
              <a:gd name="connsiteY3" fmla="*/ 2965721 h 2965721"/>
              <a:gd name="connsiteX4" fmla="*/ 67924 w 2848573"/>
              <a:gd name="connsiteY4" fmla="*/ 2965721 h 2965721"/>
              <a:gd name="connsiteX5" fmla="*/ 0 w 2848573"/>
              <a:gd name="connsiteY5" fmla="*/ 2903988 h 2965721"/>
              <a:gd name="connsiteX6" fmla="*/ 0 w 2848573"/>
              <a:gd name="connsiteY6" fmla="*/ 467334 h 2965721"/>
              <a:gd name="connsiteX7" fmla="*/ 90675 w 2848573"/>
              <a:gd name="connsiteY7" fmla="*/ 384923 h 2965721"/>
              <a:gd name="connsiteX8" fmla="*/ 1162912 w 2848573"/>
              <a:gd name="connsiteY8" fmla="*/ 0 h 296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48573" h="2965721">
                <a:moveTo>
                  <a:pt x="1162912" y="0"/>
                </a:moveTo>
                <a:cubicBezTo>
                  <a:pt x="2093877" y="0"/>
                  <a:pt x="2848573" y="754696"/>
                  <a:pt x="2848573" y="1685661"/>
                </a:cubicBezTo>
                <a:cubicBezTo>
                  <a:pt x="2848573" y="2151144"/>
                  <a:pt x="2659899" y="2572559"/>
                  <a:pt x="2354855" y="2877604"/>
                </a:cubicBezTo>
                <a:lnTo>
                  <a:pt x="2257901" y="2965721"/>
                </a:lnTo>
                <a:lnTo>
                  <a:pt x="67924" y="2965721"/>
                </a:lnTo>
                <a:lnTo>
                  <a:pt x="0" y="2903988"/>
                </a:lnTo>
                <a:lnTo>
                  <a:pt x="0" y="467334"/>
                </a:lnTo>
                <a:lnTo>
                  <a:pt x="90675" y="384923"/>
                </a:lnTo>
                <a:cubicBezTo>
                  <a:pt x="382057" y="144454"/>
                  <a:pt x="755615" y="0"/>
                  <a:pt x="1162912" y="0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8" name="Espaço Reservado para Imagem 27">
            <a:extLst>
              <a:ext uri="{FF2B5EF4-FFF2-40B4-BE49-F238E27FC236}">
                <a16:creationId xmlns:a16="http://schemas.microsoft.com/office/drawing/2014/main" id="{548B2331-2676-10C2-7E01-D10F6FB4AAA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81687" y="995363"/>
            <a:ext cx="793750" cy="793750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38" name="Título">
            <a:extLst>
              <a:ext uri="{FF2B5EF4-FFF2-40B4-BE49-F238E27FC236}">
                <a16:creationId xmlns:a16="http://schemas.microsoft.com/office/drawing/2014/main" id="{ADB15B2B-2001-9E64-8B66-5FAC0E2E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3244" y="1270707"/>
            <a:ext cx="4158456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0" name="Espaço Reservado para Texto 39">
            <a:extLst>
              <a:ext uri="{FF2B5EF4-FFF2-40B4-BE49-F238E27FC236}">
                <a16:creationId xmlns:a16="http://schemas.microsoft.com/office/drawing/2014/main" id="{A1760A25-CD4E-1960-08EE-258535BF93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23244" y="926629"/>
            <a:ext cx="4180096" cy="323211"/>
          </a:xfrm>
        </p:spPr>
        <p:txBody>
          <a:bodyPr lIns="126000">
            <a:noAutofit/>
          </a:bodyPr>
          <a:lstStyle>
            <a:lvl1pPr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8" name="Rectangle: Rounded Corners 9">
            <a:extLst>
              <a:ext uri="{FF2B5EF4-FFF2-40B4-BE49-F238E27FC236}">
                <a16:creationId xmlns:a16="http://schemas.microsoft.com/office/drawing/2014/main" id="{19FBD3DF-538E-7884-58FD-04DC57DB7E80}"/>
              </a:ext>
            </a:extLst>
          </p:cNvPr>
          <p:cNvSpPr/>
          <p:nvPr userDrawn="1"/>
        </p:nvSpPr>
        <p:spPr>
          <a:xfrm>
            <a:off x="1568450" y="3571620"/>
            <a:ext cx="4434893" cy="2405063"/>
          </a:xfrm>
          <a:prstGeom prst="roundRect">
            <a:avLst>
              <a:gd name="adj" fmla="val 6259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9" name="Rectangle: Rounded Corners 10">
            <a:extLst>
              <a:ext uri="{FF2B5EF4-FFF2-40B4-BE49-F238E27FC236}">
                <a16:creationId xmlns:a16="http://schemas.microsoft.com/office/drawing/2014/main" id="{AE95629A-85FB-D0D9-6F6F-A142203545A5}"/>
              </a:ext>
            </a:extLst>
          </p:cNvPr>
          <p:cNvSpPr/>
          <p:nvPr userDrawn="1"/>
        </p:nvSpPr>
        <p:spPr>
          <a:xfrm>
            <a:off x="6222183" y="3545643"/>
            <a:ext cx="4435200" cy="2431040"/>
          </a:xfrm>
          <a:custGeom>
            <a:avLst/>
            <a:gdLst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84667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79472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53494 w 4435200"/>
              <a:gd name="connsiteY2" fmla="*/ 10391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95058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315839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10391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5196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60924 h 2415454"/>
              <a:gd name="connsiteX1" fmla="*/ 150533 w 4435200"/>
              <a:gd name="connsiteY1" fmla="*/ 5195 h 2415454"/>
              <a:gd name="connsiteX2" fmla="*/ 4321035 w 4435200"/>
              <a:gd name="connsiteY2" fmla="*/ 0 h 2415454"/>
              <a:gd name="connsiteX3" fmla="*/ 4435200 w 4435200"/>
              <a:gd name="connsiteY3" fmla="*/ 160924 h 2415454"/>
              <a:gd name="connsiteX4" fmla="*/ 4435200 w 4435200"/>
              <a:gd name="connsiteY4" fmla="*/ 2264921 h 2415454"/>
              <a:gd name="connsiteX5" fmla="*/ 4284667 w 4435200"/>
              <a:gd name="connsiteY5" fmla="*/ 2415454 h 2415454"/>
              <a:gd name="connsiteX6" fmla="*/ 150533 w 4435200"/>
              <a:gd name="connsiteY6" fmla="*/ 2415454 h 2415454"/>
              <a:gd name="connsiteX7" fmla="*/ 0 w 4435200"/>
              <a:gd name="connsiteY7" fmla="*/ 2264921 h 2415454"/>
              <a:gd name="connsiteX8" fmla="*/ 0 w 4435200"/>
              <a:gd name="connsiteY8" fmla="*/ 160924 h 2415454"/>
              <a:gd name="connsiteX0" fmla="*/ 0 w 4435200"/>
              <a:gd name="connsiteY0" fmla="*/ 176510 h 2431040"/>
              <a:gd name="connsiteX1" fmla="*/ 155729 w 4435200"/>
              <a:gd name="connsiteY1" fmla="*/ 0 h 2431040"/>
              <a:gd name="connsiteX2" fmla="*/ 4321035 w 4435200"/>
              <a:gd name="connsiteY2" fmla="*/ 15586 h 2431040"/>
              <a:gd name="connsiteX3" fmla="*/ 4435200 w 4435200"/>
              <a:gd name="connsiteY3" fmla="*/ 176510 h 2431040"/>
              <a:gd name="connsiteX4" fmla="*/ 4435200 w 4435200"/>
              <a:gd name="connsiteY4" fmla="*/ 2280507 h 2431040"/>
              <a:gd name="connsiteX5" fmla="*/ 4284667 w 4435200"/>
              <a:gd name="connsiteY5" fmla="*/ 2431040 h 2431040"/>
              <a:gd name="connsiteX6" fmla="*/ 150533 w 4435200"/>
              <a:gd name="connsiteY6" fmla="*/ 2431040 h 2431040"/>
              <a:gd name="connsiteX7" fmla="*/ 0 w 4435200"/>
              <a:gd name="connsiteY7" fmla="*/ 2280507 h 2431040"/>
              <a:gd name="connsiteX8" fmla="*/ 0 w 4435200"/>
              <a:gd name="connsiteY8" fmla="*/ 176510 h 243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5200" h="2431040">
                <a:moveTo>
                  <a:pt x="0" y="176510"/>
                </a:moveTo>
                <a:cubicBezTo>
                  <a:pt x="0" y="93373"/>
                  <a:pt x="72592" y="0"/>
                  <a:pt x="155729" y="0"/>
                </a:cubicBezTo>
                <a:lnTo>
                  <a:pt x="4321035" y="15586"/>
                </a:lnTo>
                <a:cubicBezTo>
                  <a:pt x="4404172" y="15586"/>
                  <a:pt x="4435200" y="93373"/>
                  <a:pt x="4435200" y="176510"/>
                </a:cubicBezTo>
                <a:lnTo>
                  <a:pt x="4435200" y="2280507"/>
                </a:lnTo>
                <a:cubicBezTo>
                  <a:pt x="4435200" y="2363644"/>
                  <a:pt x="4367804" y="2431040"/>
                  <a:pt x="4284667" y="2431040"/>
                </a:cubicBezTo>
                <a:lnTo>
                  <a:pt x="150533" y="2431040"/>
                </a:lnTo>
                <a:cubicBezTo>
                  <a:pt x="67396" y="2431040"/>
                  <a:pt x="0" y="2363644"/>
                  <a:pt x="0" y="2280507"/>
                </a:cubicBezTo>
                <a:lnTo>
                  <a:pt x="0" y="1765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25" name="Espaço Reservado para Texto 24">
            <a:extLst>
              <a:ext uri="{FF2B5EF4-FFF2-40B4-BE49-F238E27FC236}">
                <a16:creationId xmlns:a16="http://schemas.microsoft.com/office/drawing/2014/main" id="{F23AF8C6-F807-A43D-E470-FC73BC02A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338" y="2698751"/>
            <a:ext cx="1949844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0" name="Espaço Reservado para Texto 29">
            <a:extLst>
              <a:ext uri="{FF2B5EF4-FFF2-40B4-BE49-F238E27FC236}">
                <a16:creationId xmlns:a16="http://schemas.microsoft.com/office/drawing/2014/main" id="{9D491E22-92EA-618D-BAF8-776849CE7C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11338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1" name="Espaço Reservado para Texto 29">
            <a:extLst>
              <a:ext uri="{FF2B5EF4-FFF2-40B4-BE49-F238E27FC236}">
                <a16:creationId xmlns:a16="http://schemas.microsoft.com/office/drawing/2014/main" id="{BDD87BC4-5DA3-8DE4-6EB4-09DF200DC5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764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3" name="Espaço Reservado para Texto 32">
            <a:extLst>
              <a:ext uri="{FF2B5EF4-FFF2-40B4-BE49-F238E27FC236}">
                <a16:creationId xmlns:a16="http://schemas.microsoft.com/office/drawing/2014/main" id="{5B90BA16-3647-7EE4-E8E7-A0663719D6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23244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4" name="Espaço Reservado para Texto 32">
            <a:extLst>
              <a:ext uri="{FF2B5EF4-FFF2-40B4-BE49-F238E27FC236}">
                <a16:creationId xmlns:a16="http://schemas.microsoft.com/office/drawing/2014/main" id="{20BD869A-4B19-32B8-B2D1-E173FCFC99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32315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6" name="Espaço Reservado para Imagem 35">
            <a:extLst>
              <a:ext uri="{FF2B5EF4-FFF2-40B4-BE49-F238E27FC236}">
                <a16:creationId xmlns:a16="http://schemas.microsoft.com/office/drawing/2014/main" id="{BDB52A58-E55C-9C98-C52A-346308CB97D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397500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37" name="Espaço Reservado para Imagem 35">
            <a:extLst>
              <a:ext uri="{FF2B5EF4-FFF2-40B4-BE49-F238E27FC236}">
                <a16:creationId xmlns:a16="http://schemas.microsoft.com/office/drawing/2014/main" id="{C1628873-D7CE-181B-53FE-C45F4CA950A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957144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26" name="Espaço Reservado para Texto 24">
            <a:extLst>
              <a:ext uri="{FF2B5EF4-FFF2-40B4-BE49-F238E27FC236}">
                <a16:creationId xmlns:a16="http://schemas.microsoft.com/office/drawing/2014/main" id="{78C5B9BC-23BA-9D40-0EFB-FD4839B9D6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3289" y="2698751"/>
            <a:ext cx="1971675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95C0EA-8668-632B-6E8C-C7C8464EF9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4038" y="2372411"/>
            <a:ext cx="41576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0117744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41749C37-0E1C-DA14-42C3-889AC06FF72F}"/>
              </a:ext>
            </a:extLst>
          </p:cNvPr>
          <p:cNvSpPr/>
          <p:nvPr userDrawn="1"/>
        </p:nvSpPr>
        <p:spPr>
          <a:xfrm>
            <a:off x="699837" y="2090737"/>
            <a:ext cx="5496426" cy="34004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02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08969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4883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>
            <a:extLst>
              <a:ext uri="{FF2B5EF4-FFF2-40B4-BE49-F238E27FC236}">
                <a16:creationId xmlns:a16="http://schemas.microsoft.com/office/drawing/2014/main" id="{2C50B055-D4D1-8B28-58F6-A4E7EE06C736}"/>
              </a:ext>
            </a:extLst>
          </p:cNvPr>
          <p:cNvSpPr/>
          <p:nvPr userDrawn="1"/>
        </p:nvSpPr>
        <p:spPr>
          <a:xfrm>
            <a:off x="9740900" y="4254388"/>
            <a:ext cx="3476175" cy="3476175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6334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1092580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4063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11338" y="602332"/>
            <a:ext cx="5919787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213" y="865524"/>
            <a:ext cx="5919787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2526167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842E5A5A-7704-2F48-8702-A3E6101A002E}"/>
              </a:ext>
            </a:extLst>
          </p:cNvPr>
          <p:cNvSpPr/>
          <p:nvPr userDrawn="1"/>
        </p:nvSpPr>
        <p:spPr>
          <a:xfrm>
            <a:off x="1828046" y="2954787"/>
            <a:ext cx="2952000" cy="360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spaço Reservado para Texto 3">
            <a:extLst>
              <a:ext uri="{FF2B5EF4-FFF2-40B4-BE49-F238E27FC236}">
                <a16:creationId xmlns:a16="http://schemas.microsoft.com/office/drawing/2014/main" id="{CDF90CEE-BDF2-3D8C-A60C-9E9609E82BD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5882" y="1920603"/>
            <a:ext cx="59229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9F7F299-B9F4-BC9F-95FF-5ED073B643B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824038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anchor="t" anchorCtr="0">
            <a:no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lang="pt-BR" sz="1300" b="0" i="0" u="none" strike="noStrike" cap="none" dirty="0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0" name="Espaço Reservado para Texto 5">
            <a:extLst>
              <a:ext uri="{FF2B5EF4-FFF2-40B4-BE49-F238E27FC236}">
                <a16:creationId xmlns:a16="http://schemas.microsoft.com/office/drawing/2014/main" id="{79E14420-1845-E853-61FD-FA2963FDC8F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9905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Texto 5">
            <a:extLst>
              <a:ext uri="{FF2B5EF4-FFF2-40B4-BE49-F238E27FC236}">
                <a16:creationId xmlns:a16="http://schemas.microsoft.com/office/drawing/2014/main" id="{913B9138-B8EB-3199-7F11-1E6E66F0F89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2560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5">
            <a:extLst>
              <a:ext uri="{FF2B5EF4-FFF2-40B4-BE49-F238E27FC236}">
                <a16:creationId xmlns:a16="http://schemas.microsoft.com/office/drawing/2014/main" id="{B8F1D9A9-B7F4-BE71-F7ED-0A07DA24A9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824038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19" name="Espaço Reservado para Texto 5">
            <a:extLst>
              <a:ext uri="{FF2B5EF4-FFF2-40B4-BE49-F238E27FC236}">
                <a16:creationId xmlns:a16="http://schemas.microsoft.com/office/drawing/2014/main" id="{980425ED-7FEC-0C8E-25E6-739799A406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09905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20" name="Espaço Reservado para Texto 5">
            <a:extLst>
              <a:ext uri="{FF2B5EF4-FFF2-40B4-BE49-F238E27FC236}">
                <a16:creationId xmlns:a16="http://schemas.microsoft.com/office/drawing/2014/main" id="{C5B6446B-3A90-952C-4B30-11612A5C500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2560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</p:spTree>
    <p:extLst>
      <p:ext uri="{BB962C8B-B14F-4D97-AF65-F5344CB8AC3E}">
        <p14:creationId xmlns:p14="http://schemas.microsoft.com/office/powerpoint/2010/main" val="166275124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tx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484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8592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ayout Personalizad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  <p:sp>
        <p:nvSpPr>
          <p:cNvPr id="19" name="Espaço Reservado para Texto 4">
            <a:extLst>
              <a:ext uri="{FF2B5EF4-FFF2-40B4-BE49-F238E27FC236}">
                <a16:creationId xmlns:a16="http://schemas.microsoft.com/office/drawing/2014/main" id="{4D87E33E-59D6-DAD1-29AD-45184F79D6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90663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14150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5660635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5194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194" y="929692"/>
            <a:ext cx="5067325" cy="447676"/>
          </a:xfrm>
        </p:spPr>
        <p:txBody>
          <a:bodyPr anchor="t">
            <a:noAutofit/>
          </a:bodyPr>
          <a:lstStyle>
            <a:lvl1pPr>
              <a:defRPr sz="32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37373" y="2652353"/>
            <a:ext cx="3215912" cy="321591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A49AEE0D-5540-3547-BC5A-EEFF6F6E43A8}"/>
              </a:ext>
            </a:extLst>
          </p:cNvPr>
          <p:cNvSpPr/>
          <p:nvPr userDrawn="1"/>
        </p:nvSpPr>
        <p:spPr>
          <a:xfrm>
            <a:off x="6063916" y="1579387"/>
            <a:ext cx="5362826" cy="5362826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C637D6D3-823D-5CA1-E4DB-1EBD83A6E131}"/>
              </a:ext>
            </a:extLst>
          </p:cNvPr>
          <p:cNvSpPr/>
          <p:nvPr userDrawn="1"/>
        </p:nvSpPr>
        <p:spPr>
          <a:xfrm>
            <a:off x="7111110" y="786063"/>
            <a:ext cx="1600274" cy="1600274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A80B72A2-436E-D9FD-0AF7-648ADA0BB41E}"/>
              </a:ext>
            </a:extLst>
          </p:cNvPr>
          <p:cNvSpPr/>
          <p:nvPr userDrawn="1"/>
        </p:nvSpPr>
        <p:spPr>
          <a:xfrm>
            <a:off x="10338588" y="4967534"/>
            <a:ext cx="1243812" cy="1243812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E9ECFA41-67A9-E4A3-C1EE-58B458E21DE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C78140DF-A908-BA68-B4C7-7132F96883C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28107" y="1003061"/>
            <a:ext cx="1166279" cy="1166279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E0A0048-DD3B-B964-36C4-C7F672FEE75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567923" y="5196870"/>
            <a:ext cx="785141" cy="785141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643745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0300" y="1398588"/>
            <a:ext cx="5067325" cy="447676"/>
          </a:xfrm>
        </p:spPr>
        <p:txBody>
          <a:bodyPr anchor="t">
            <a:noAutofit/>
          </a:bodyPr>
          <a:lstStyle>
            <a:lvl1pPr>
              <a:defRPr sz="3000" b="1" spc="-1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3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0A5879CF-3A57-F8C5-5DB7-0DDBF0702F5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8510" y="1335128"/>
            <a:ext cx="1022272" cy="1022272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65263578-CBA1-22C2-E629-7BBA7BA793D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888620" y="-1239748"/>
            <a:ext cx="2726056" cy="2726056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139BA4FB-8314-FDEC-15F0-E08569D9D4C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09642" y="5660305"/>
            <a:ext cx="681514" cy="681514"/>
          </a:xfrm>
          <a:prstGeom prst="rect">
            <a:avLst/>
          </a:prstGeom>
        </p:spPr>
      </p:pic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9568" y="1642454"/>
            <a:ext cx="4061502" cy="406150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  <p:sp>
        <p:nvSpPr>
          <p:cNvPr id="12" name="Espaço Reservado para Imagem 10">
            <a:extLst>
              <a:ext uri="{FF2B5EF4-FFF2-40B4-BE49-F238E27FC236}">
                <a16:creationId xmlns:a16="http://schemas.microsoft.com/office/drawing/2014/main" id="{82EDB949-E31F-851E-8023-22D09B234E0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4745" y="1494631"/>
            <a:ext cx="1190998" cy="1395317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pt-BR"/>
              <a:t>Grafismo</a:t>
            </a:r>
            <a:br>
              <a:rPr lang="pt-BR"/>
            </a:br>
            <a:r>
              <a:rPr lang="pt-BR"/>
              <a:t>(opcional)</a:t>
            </a:r>
          </a:p>
        </p:txBody>
      </p:sp>
    </p:spTree>
    <p:extLst>
      <p:ext uri="{BB962C8B-B14F-4D97-AF65-F5344CB8AC3E}">
        <p14:creationId xmlns:p14="http://schemas.microsoft.com/office/powerpoint/2010/main" val="14454865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pic>
        <p:nvPicPr>
          <p:cNvPr id="2" name="Imagem 1" descr="Logotipo&#10;&#10;Descrição gerada automaticamente">
            <a:extLst>
              <a:ext uri="{FF2B5EF4-FFF2-40B4-BE49-F238E27FC236}">
                <a16:creationId xmlns:a16="http://schemas.microsoft.com/office/drawing/2014/main" id="{998CDD9A-C3B1-769F-4D99-0F7960F23A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3844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6">
            <a:extLst>
              <a:ext uri="{FF2B5EF4-FFF2-40B4-BE49-F238E27FC236}">
                <a16:creationId xmlns:a16="http://schemas.microsoft.com/office/drawing/2014/main" id="{834422CA-98D0-C42F-0C28-8A89C29CEF93}"/>
              </a:ext>
            </a:extLst>
          </p:cNvPr>
          <p:cNvSpPr/>
          <p:nvPr userDrawn="1"/>
        </p:nvSpPr>
        <p:spPr>
          <a:xfrm>
            <a:off x="-279474" y="3770819"/>
            <a:ext cx="2140804" cy="2135020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E1A1E57D-5415-FF9C-C2D4-D14B577592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435006" y="1136650"/>
            <a:ext cx="1712170" cy="1707542"/>
          </a:xfrm>
          <a:prstGeom prst="rect">
            <a:avLst/>
          </a:prstGeom>
        </p:spPr>
      </p:pic>
      <p:sp>
        <p:nvSpPr>
          <p:cNvPr id="5" name="Oval 5">
            <a:extLst>
              <a:ext uri="{FF2B5EF4-FFF2-40B4-BE49-F238E27FC236}">
                <a16:creationId xmlns:a16="http://schemas.microsoft.com/office/drawing/2014/main" id="{A501F69B-8309-1299-025A-632B85EADA6F}"/>
              </a:ext>
            </a:extLst>
          </p:cNvPr>
          <p:cNvSpPr/>
          <p:nvPr userDrawn="1"/>
        </p:nvSpPr>
        <p:spPr>
          <a:xfrm>
            <a:off x="949082" y="1438270"/>
            <a:ext cx="3633370" cy="362354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32846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3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1BE0EC9-7069-DF75-D503-4A156A6520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05358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3211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D7E6FD-C4DA-F588-E77A-C8DBEDF9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69426D3-4E19-986D-846B-503FE9472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555FC61-4954-E68E-3679-F6B0250BF4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2940747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A62373F-9A2F-0755-558D-BC41F23DDA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42316741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áfico 20">
            <a:extLst>
              <a:ext uri="{FF2B5EF4-FFF2-40B4-BE49-F238E27FC236}">
                <a16:creationId xmlns:a16="http://schemas.microsoft.com/office/drawing/2014/main" id="{8FC6E60B-071E-D350-BC6F-C0CD9604C70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360999" y="2586446"/>
            <a:ext cx="2101026" cy="2101026"/>
          </a:xfrm>
          <a:prstGeom prst="rect">
            <a:avLst/>
          </a:prstGeom>
        </p:spPr>
      </p:pic>
      <p:sp>
        <p:nvSpPr>
          <p:cNvPr id="22" name="Freeform: Shape 24">
            <a:extLst>
              <a:ext uri="{FF2B5EF4-FFF2-40B4-BE49-F238E27FC236}">
                <a16:creationId xmlns:a16="http://schemas.microsoft.com/office/drawing/2014/main" id="{55589210-86D7-6986-4F2E-47E6E193B276}"/>
              </a:ext>
            </a:extLst>
          </p:cNvPr>
          <p:cNvSpPr/>
          <p:nvPr userDrawn="1"/>
        </p:nvSpPr>
        <p:spPr>
          <a:xfrm>
            <a:off x="1" y="5491163"/>
            <a:ext cx="1460543" cy="1360974"/>
          </a:xfrm>
          <a:custGeom>
            <a:avLst/>
            <a:gdLst>
              <a:gd name="connsiteX0" fmla="*/ 618317 w 1778972"/>
              <a:gd name="connsiteY0" fmla="*/ 0 h 1657695"/>
              <a:gd name="connsiteX1" fmla="*/ 1778972 w 1778972"/>
              <a:gd name="connsiteY1" fmla="*/ 1160655 h 1657695"/>
              <a:gd name="connsiteX2" fmla="*/ 1687762 w 1778972"/>
              <a:gd name="connsiteY2" fmla="*/ 1612435 h 1657695"/>
              <a:gd name="connsiteX3" fmla="*/ 1663196 w 1778972"/>
              <a:gd name="connsiteY3" fmla="*/ 1657695 h 1657695"/>
              <a:gd name="connsiteX4" fmla="*/ 0 w 1778972"/>
              <a:gd name="connsiteY4" fmla="*/ 1657695 h 1657695"/>
              <a:gd name="connsiteX5" fmla="*/ 0 w 1778972"/>
              <a:gd name="connsiteY5" fmla="*/ 179622 h 1657695"/>
              <a:gd name="connsiteX6" fmla="*/ 65080 w 1778972"/>
              <a:gd name="connsiteY6" fmla="*/ 140085 h 1657695"/>
              <a:gd name="connsiteX7" fmla="*/ 618317 w 1778972"/>
              <a:gd name="connsiteY7" fmla="*/ 0 h 1657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78972" h="1657695">
                <a:moveTo>
                  <a:pt x="618317" y="0"/>
                </a:moveTo>
                <a:cubicBezTo>
                  <a:pt x="1259329" y="0"/>
                  <a:pt x="1778972" y="519643"/>
                  <a:pt x="1778972" y="1160655"/>
                </a:cubicBezTo>
                <a:cubicBezTo>
                  <a:pt x="1778972" y="1320908"/>
                  <a:pt x="1746495" y="1473576"/>
                  <a:pt x="1687762" y="1612435"/>
                </a:cubicBezTo>
                <a:lnTo>
                  <a:pt x="1663196" y="1657695"/>
                </a:lnTo>
                <a:lnTo>
                  <a:pt x="0" y="1657695"/>
                </a:lnTo>
                <a:lnTo>
                  <a:pt x="0" y="179622"/>
                </a:lnTo>
                <a:lnTo>
                  <a:pt x="65080" y="140085"/>
                </a:lnTo>
                <a:cubicBezTo>
                  <a:pt x="229537" y="50747"/>
                  <a:pt x="418001" y="0"/>
                  <a:pt x="618317" y="0"/>
                </a:cubicBezTo>
                <a:close/>
              </a:path>
            </a:pathLst>
          </a:cu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4978" y="1142317"/>
            <a:ext cx="5044671" cy="920750"/>
          </a:xfrm>
        </p:spPr>
        <p:txBody>
          <a:bodyPr anchor="t">
            <a:noAutofit/>
          </a:bodyPr>
          <a:lstStyle>
            <a:lvl1pPr algn="ctr"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79700" y="2239906"/>
            <a:ext cx="6832600" cy="951402"/>
          </a:xfrm>
        </p:spPr>
        <p:txBody>
          <a:bodyPr>
            <a:normAutofit/>
          </a:bodyPr>
          <a:lstStyle>
            <a:lvl1pPr marL="0" marR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F65EBF6C-485C-17DD-8EC2-C13A19FCC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7000" y="773884"/>
            <a:ext cx="5067325" cy="354597"/>
          </a:xfrm>
        </p:spPr>
        <p:txBody>
          <a:bodyPr lIns="108000" anchor="b">
            <a:normAutofit/>
          </a:bodyPr>
          <a:lstStyle>
            <a:lvl1pPr algn="ctr">
              <a:lnSpc>
                <a:spcPct val="100000"/>
              </a:lnSpc>
              <a:defRPr sz="1100" b="0" cap="all" spc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7" name="Freeform: Shape 26">
            <a:extLst>
              <a:ext uri="{FF2B5EF4-FFF2-40B4-BE49-F238E27FC236}">
                <a16:creationId xmlns:a16="http://schemas.microsoft.com/office/drawing/2014/main" id="{5E95BECC-9D3F-5219-68DD-89416A67263D}"/>
              </a:ext>
            </a:extLst>
          </p:cNvPr>
          <p:cNvSpPr/>
          <p:nvPr userDrawn="1"/>
        </p:nvSpPr>
        <p:spPr>
          <a:xfrm>
            <a:off x="3360987" y="3762124"/>
            <a:ext cx="4638820" cy="3090011"/>
          </a:xfrm>
          <a:custGeom>
            <a:avLst/>
            <a:gdLst>
              <a:gd name="connsiteX0" fmla="*/ 2319410 w 4638820"/>
              <a:gd name="connsiteY0" fmla="*/ 0 h 3090010"/>
              <a:gd name="connsiteX1" fmla="*/ 4638820 w 4638820"/>
              <a:gd name="connsiteY1" fmla="*/ 2319408 h 3090010"/>
              <a:gd name="connsiteX2" fmla="*/ 4534544 w 4638820"/>
              <a:gd name="connsiteY2" fmla="*/ 3009129 h 3090010"/>
              <a:gd name="connsiteX3" fmla="*/ 4504942 w 4638820"/>
              <a:gd name="connsiteY3" fmla="*/ 3090010 h 3090010"/>
              <a:gd name="connsiteX4" fmla="*/ 133879 w 4638820"/>
              <a:gd name="connsiteY4" fmla="*/ 3090010 h 3090010"/>
              <a:gd name="connsiteX5" fmla="*/ 104276 w 4638820"/>
              <a:gd name="connsiteY5" fmla="*/ 3009129 h 3090010"/>
              <a:gd name="connsiteX6" fmla="*/ 0 w 4638820"/>
              <a:gd name="connsiteY6" fmla="*/ 2319408 h 3090010"/>
              <a:gd name="connsiteX7" fmla="*/ 2319410 w 4638820"/>
              <a:gd name="connsiteY7" fmla="*/ 0 h 309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38820" h="3090010">
                <a:moveTo>
                  <a:pt x="2319410" y="0"/>
                </a:moveTo>
                <a:cubicBezTo>
                  <a:pt x="3600385" y="0"/>
                  <a:pt x="4638820" y="1038434"/>
                  <a:pt x="4638820" y="2319408"/>
                </a:cubicBezTo>
                <a:cubicBezTo>
                  <a:pt x="4638820" y="2559591"/>
                  <a:pt x="4602313" y="2791247"/>
                  <a:pt x="4534544" y="3009129"/>
                </a:cubicBezTo>
                <a:lnTo>
                  <a:pt x="4504942" y="3090010"/>
                </a:lnTo>
                <a:lnTo>
                  <a:pt x="133879" y="3090010"/>
                </a:lnTo>
                <a:lnTo>
                  <a:pt x="104276" y="3009129"/>
                </a:lnTo>
                <a:cubicBezTo>
                  <a:pt x="36508" y="2791247"/>
                  <a:pt x="0" y="2559591"/>
                  <a:pt x="0" y="2319408"/>
                </a:cubicBezTo>
                <a:cubicBezTo>
                  <a:pt x="0" y="1038434"/>
                  <a:pt x="1038435" y="0"/>
                  <a:pt x="231941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9" name="Oval 1">
            <a:extLst>
              <a:ext uri="{FF2B5EF4-FFF2-40B4-BE49-F238E27FC236}">
                <a16:creationId xmlns:a16="http://schemas.microsoft.com/office/drawing/2014/main" id="{0B03E640-E3BB-FB17-5537-862E75ABF681}"/>
              </a:ext>
            </a:extLst>
          </p:cNvPr>
          <p:cNvSpPr/>
          <p:nvPr userDrawn="1"/>
        </p:nvSpPr>
        <p:spPr>
          <a:xfrm>
            <a:off x="1409433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B9DBEBF6-24A2-17AF-03D7-D3A1A2315E42}"/>
              </a:ext>
            </a:extLst>
          </p:cNvPr>
          <p:cNvSpPr/>
          <p:nvPr userDrawn="1"/>
        </p:nvSpPr>
        <p:spPr>
          <a:xfrm>
            <a:off x="4673835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1" name="Oval 9">
            <a:extLst>
              <a:ext uri="{FF2B5EF4-FFF2-40B4-BE49-F238E27FC236}">
                <a16:creationId xmlns:a16="http://schemas.microsoft.com/office/drawing/2014/main" id="{7AFB69F1-EC89-0D88-F743-AB0CCD4E607B}"/>
              </a:ext>
            </a:extLst>
          </p:cNvPr>
          <p:cNvSpPr/>
          <p:nvPr userDrawn="1"/>
        </p:nvSpPr>
        <p:spPr>
          <a:xfrm>
            <a:off x="7998729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8" name="Espaço Reservado para Imagem 27">
            <a:extLst>
              <a:ext uri="{FF2B5EF4-FFF2-40B4-BE49-F238E27FC236}">
                <a16:creationId xmlns:a16="http://schemas.microsoft.com/office/drawing/2014/main" id="{6DE3F598-43D3-1E44-57FB-17EFD4D9254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512131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19" name="Espaço Reservado para Imagem 27">
            <a:extLst>
              <a:ext uri="{FF2B5EF4-FFF2-40B4-BE49-F238E27FC236}">
                <a16:creationId xmlns:a16="http://schemas.microsoft.com/office/drawing/2014/main" id="{E0926438-798E-F72E-EFC9-39EF87CE363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9618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0" name="Espaço Reservado para Imagem 27">
            <a:extLst>
              <a:ext uri="{FF2B5EF4-FFF2-40B4-BE49-F238E27FC236}">
                <a16:creationId xmlns:a16="http://schemas.microsoft.com/office/drawing/2014/main" id="{E07D2C1F-D30D-2277-57A7-14955984FC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0196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5" name="Espaço Reservado para Texto 23">
            <a:extLst>
              <a:ext uri="{FF2B5EF4-FFF2-40B4-BE49-F238E27FC236}">
                <a16:creationId xmlns:a16="http://schemas.microsoft.com/office/drawing/2014/main" id="{10FAB265-50D2-444E-770C-DF530276BE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16450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7" name="Espaço Reservado para Texto 23">
            <a:extLst>
              <a:ext uri="{FF2B5EF4-FFF2-40B4-BE49-F238E27FC236}">
                <a16:creationId xmlns:a16="http://schemas.microsoft.com/office/drawing/2014/main" id="{A60E8CAA-48D5-61E9-C74D-2CCEB3E3A7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6296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9" name="Espaço Reservado para Texto 23">
            <a:extLst>
              <a:ext uri="{FF2B5EF4-FFF2-40B4-BE49-F238E27FC236}">
                <a16:creationId xmlns:a16="http://schemas.microsoft.com/office/drawing/2014/main" id="{73876383-9A46-664A-7697-809108EB46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1409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37" name="Espaço Reservado para Texto 36">
            <a:extLst>
              <a:ext uri="{FF2B5EF4-FFF2-40B4-BE49-F238E27FC236}">
                <a16:creationId xmlns:a16="http://schemas.microsoft.com/office/drawing/2014/main" id="{F5EC3AD8-AE40-5DF3-5734-FF5CE48658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10496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8" name="Espaço Reservado para Texto 36">
            <a:extLst>
              <a:ext uri="{FF2B5EF4-FFF2-40B4-BE49-F238E27FC236}">
                <a16:creationId xmlns:a16="http://schemas.microsoft.com/office/drawing/2014/main" id="{D2DAA205-1F5B-0E76-2E89-35678D12406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78915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9" name="Espaço Reservado para Texto 36">
            <a:extLst>
              <a:ext uri="{FF2B5EF4-FFF2-40B4-BE49-F238E27FC236}">
                <a16:creationId xmlns:a16="http://schemas.microsoft.com/office/drawing/2014/main" id="{EC8C1CAA-95F3-AE44-1F31-7D912F1B861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99247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397745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28" name="Espaço Reservado para Texto 26">
            <a:extLst>
              <a:ext uri="{FF2B5EF4-FFF2-40B4-BE49-F238E27FC236}">
                <a16:creationId xmlns:a16="http://schemas.microsoft.com/office/drawing/2014/main" id="{48FFDDFF-D427-23B0-5392-54A4F7DC0D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1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5" name="Espaço Reservado para Texto 26">
            <a:extLst>
              <a:ext uri="{FF2B5EF4-FFF2-40B4-BE49-F238E27FC236}">
                <a16:creationId xmlns:a16="http://schemas.microsoft.com/office/drawing/2014/main" id="{434FF1FA-B54B-D941-7236-4AB73CE07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1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6" name="Espaço Reservado para Texto 26">
            <a:extLst>
              <a:ext uri="{FF2B5EF4-FFF2-40B4-BE49-F238E27FC236}">
                <a16:creationId xmlns:a16="http://schemas.microsoft.com/office/drawing/2014/main" id="{94BBE6CA-1C8D-0C0E-98B1-F0C9675FB2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1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7" name="Espaço Reservado para Texto 26">
            <a:extLst>
              <a:ext uri="{FF2B5EF4-FFF2-40B4-BE49-F238E27FC236}">
                <a16:creationId xmlns:a16="http://schemas.microsoft.com/office/drawing/2014/main" id="{802FF599-8D20-63CA-9E5C-86076C60E4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3601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1" name="Espaço Reservado para Texto 26">
            <a:extLst>
              <a:ext uri="{FF2B5EF4-FFF2-40B4-BE49-F238E27FC236}">
                <a16:creationId xmlns:a16="http://schemas.microsoft.com/office/drawing/2014/main" id="{57A346B4-11F9-01EB-210A-4A70946F8E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97850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2" name="Espaço Reservado para Texto 26">
            <a:extLst>
              <a:ext uri="{FF2B5EF4-FFF2-40B4-BE49-F238E27FC236}">
                <a16:creationId xmlns:a16="http://schemas.microsoft.com/office/drawing/2014/main" id="{EC3DE48F-0EBD-2A68-925F-8A0EF020E6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97850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3" name="Espaço Reservado para Texto 26">
            <a:extLst>
              <a:ext uri="{FF2B5EF4-FFF2-40B4-BE49-F238E27FC236}">
                <a16:creationId xmlns:a16="http://schemas.microsoft.com/office/drawing/2014/main" id="{FF173AB6-483B-5C2C-0E35-74B8CFC072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97850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4" name="Espaço Reservado para Texto 26">
            <a:extLst>
              <a:ext uri="{FF2B5EF4-FFF2-40B4-BE49-F238E27FC236}">
                <a16:creationId xmlns:a16="http://schemas.microsoft.com/office/drawing/2014/main" id="{67ADE121-C2B0-51E4-A497-3BB512AA41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7850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2" name="Espaço Reservado para Texto 3">
            <a:extLst>
              <a:ext uri="{FF2B5EF4-FFF2-40B4-BE49-F238E27FC236}">
                <a16:creationId xmlns:a16="http://schemas.microsoft.com/office/drawing/2014/main" id="{79D8D897-387E-A66E-3D4D-C6E8F6F705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70391" y="3235508"/>
            <a:ext cx="3044731" cy="951402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3596216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ranc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9F790EC3-C462-56AD-2B08-F7FF72508A8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76763" y="1571153"/>
            <a:ext cx="654050" cy="65405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9" name="Espaço Reservado para Imagem 6">
            <a:extLst>
              <a:ext uri="{FF2B5EF4-FFF2-40B4-BE49-F238E27FC236}">
                <a16:creationId xmlns:a16="http://schemas.microsoft.com/office/drawing/2014/main" id="{117F00D3-8A9D-BA5C-B4D6-56F53DABE08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576763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1" name="Espaço Reservado para Imagem 6">
            <a:extLst>
              <a:ext uri="{FF2B5EF4-FFF2-40B4-BE49-F238E27FC236}">
                <a16:creationId xmlns:a16="http://schemas.microsoft.com/office/drawing/2014/main" id="{C63AF8FD-7A31-97C0-140D-F6C27992E08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576763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3" name="Espaço Reservado para Imagem 6">
            <a:extLst>
              <a:ext uri="{FF2B5EF4-FFF2-40B4-BE49-F238E27FC236}">
                <a16:creationId xmlns:a16="http://schemas.microsoft.com/office/drawing/2014/main" id="{F1E03703-2380-F3EB-4FA7-CE7A98BD8A4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576763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8" name="Espaço Reservado para Imagem 6">
            <a:extLst>
              <a:ext uri="{FF2B5EF4-FFF2-40B4-BE49-F238E27FC236}">
                <a16:creationId xmlns:a16="http://schemas.microsoft.com/office/drawing/2014/main" id="{F2561D0A-B2DA-2E1A-6F9F-4F820557716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102600" y="157115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9" name="Espaço Reservado para Imagem 6">
            <a:extLst>
              <a:ext uri="{FF2B5EF4-FFF2-40B4-BE49-F238E27FC236}">
                <a16:creationId xmlns:a16="http://schemas.microsoft.com/office/drawing/2014/main" id="{5FF9A836-CC47-5A5F-1F9F-77925A1F458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02600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0" name="Espaço Reservado para Imagem 6">
            <a:extLst>
              <a:ext uri="{FF2B5EF4-FFF2-40B4-BE49-F238E27FC236}">
                <a16:creationId xmlns:a16="http://schemas.microsoft.com/office/drawing/2014/main" id="{6B2CA7E3-B922-EC4D-43CF-64B5C722AF4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8102600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1" name="Espaço Reservado para Imagem 6">
            <a:extLst>
              <a:ext uri="{FF2B5EF4-FFF2-40B4-BE49-F238E27FC236}">
                <a16:creationId xmlns:a16="http://schemas.microsoft.com/office/drawing/2014/main" id="{59009F60-9F6B-1234-55D4-BBD6C8FA18B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102600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52110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24408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Personaliza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7E784451-CC4E-93D5-53EF-156F58A6E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813960"/>
              </p:ext>
            </p:extLst>
          </p:nvPr>
        </p:nvGraphicFramePr>
        <p:xfrm>
          <a:off x="801" y="794"/>
          <a:ext cx="801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5" imgH="426" progId="TCLayout.ActiveDocument.1">
                  <p:embed/>
                </p:oleObj>
              </mc:Choice>
              <mc:Fallback>
                <p:oleObj name="Slide do think-cell" r:id="rId3" imgW="425" imgH="42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7E784451-CC4E-93D5-53EF-156F58A6E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01" y="794"/>
                        <a:ext cx="801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>
            <a:extLst>
              <a:ext uri="{FF2B5EF4-FFF2-40B4-BE49-F238E27FC236}">
                <a16:creationId xmlns:a16="http://schemas.microsoft.com/office/drawing/2014/main" id="{7E253372-8C30-6088-C34D-5A12FD6B829E}"/>
              </a:ext>
            </a:extLst>
          </p:cNvPr>
          <p:cNvSpPr/>
          <p:nvPr userDrawn="1"/>
        </p:nvSpPr>
        <p:spPr>
          <a:xfrm>
            <a:off x="7190090" y="2821"/>
            <a:ext cx="1567052" cy="1004719"/>
          </a:xfrm>
          <a:custGeom>
            <a:avLst/>
            <a:gdLst/>
            <a:ahLst/>
            <a:cxnLst/>
            <a:rect l="l" t="t" r="r" b="b"/>
            <a:pathLst>
              <a:path w="2239009" h="1447800">
                <a:moveTo>
                  <a:pt x="421759" y="0"/>
                </a:moveTo>
                <a:lnTo>
                  <a:pt x="48729" y="0"/>
                </a:lnTo>
                <a:lnTo>
                  <a:pt x="48540" y="577"/>
                </a:lnTo>
                <a:lnTo>
                  <a:pt x="35894" y="45334"/>
                </a:lnTo>
                <a:lnTo>
                  <a:pt x="25078" y="90829"/>
                </a:lnTo>
                <a:lnTo>
                  <a:pt x="16134" y="137021"/>
                </a:lnTo>
                <a:lnTo>
                  <a:pt x="9105" y="183867"/>
                </a:lnTo>
                <a:lnTo>
                  <a:pt x="4031" y="231354"/>
                </a:lnTo>
                <a:lnTo>
                  <a:pt x="966" y="279235"/>
                </a:lnTo>
                <a:lnTo>
                  <a:pt x="0" y="324357"/>
                </a:lnTo>
                <a:lnTo>
                  <a:pt x="27" y="332739"/>
                </a:lnTo>
                <a:lnTo>
                  <a:pt x="958" y="376462"/>
                </a:lnTo>
                <a:lnTo>
                  <a:pt x="4032" y="424482"/>
                </a:lnTo>
                <a:lnTo>
                  <a:pt x="9105" y="471934"/>
                </a:lnTo>
                <a:lnTo>
                  <a:pt x="16134" y="518773"/>
                </a:lnTo>
                <a:lnTo>
                  <a:pt x="25078" y="564959"/>
                </a:lnTo>
                <a:lnTo>
                  <a:pt x="35927" y="610567"/>
                </a:lnTo>
                <a:lnTo>
                  <a:pt x="48540" y="655202"/>
                </a:lnTo>
                <a:lnTo>
                  <a:pt x="62974" y="699175"/>
                </a:lnTo>
                <a:lnTo>
                  <a:pt x="79155" y="742327"/>
                </a:lnTo>
                <a:lnTo>
                  <a:pt x="97040" y="784614"/>
                </a:lnTo>
                <a:lnTo>
                  <a:pt x="116588" y="825995"/>
                </a:lnTo>
                <a:lnTo>
                  <a:pt x="137756" y="866429"/>
                </a:lnTo>
                <a:lnTo>
                  <a:pt x="160502" y="905873"/>
                </a:lnTo>
                <a:lnTo>
                  <a:pt x="184785" y="944285"/>
                </a:lnTo>
                <a:lnTo>
                  <a:pt x="210562" y="981622"/>
                </a:lnTo>
                <a:lnTo>
                  <a:pt x="237791" y="1017844"/>
                </a:lnTo>
                <a:lnTo>
                  <a:pt x="266431" y="1052908"/>
                </a:lnTo>
                <a:lnTo>
                  <a:pt x="296440" y="1086772"/>
                </a:lnTo>
                <a:lnTo>
                  <a:pt x="327774" y="1119393"/>
                </a:lnTo>
                <a:lnTo>
                  <a:pt x="360393" y="1150730"/>
                </a:lnTo>
                <a:lnTo>
                  <a:pt x="394255" y="1180742"/>
                </a:lnTo>
                <a:lnTo>
                  <a:pt x="429317" y="1209385"/>
                </a:lnTo>
                <a:lnTo>
                  <a:pt x="465538" y="1236617"/>
                </a:lnTo>
                <a:lnTo>
                  <a:pt x="502874" y="1262398"/>
                </a:lnTo>
                <a:lnTo>
                  <a:pt x="541286" y="1286684"/>
                </a:lnTo>
                <a:lnTo>
                  <a:pt x="580730" y="1309433"/>
                </a:lnTo>
                <a:lnTo>
                  <a:pt x="621164" y="1330605"/>
                </a:lnTo>
                <a:lnTo>
                  <a:pt x="662547" y="1350155"/>
                </a:lnTo>
                <a:lnTo>
                  <a:pt x="704836" y="1368044"/>
                </a:lnTo>
                <a:lnTo>
                  <a:pt x="747990" y="1384228"/>
                </a:lnTo>
                <a:lnTo>
                  <a:pt x="791966" y="1398665"/>
                </a:lnTo>
                <a:lnTo>
                  <a:pt x="836723" y="1411313"/>
                </a:lnTo>
                <a:lnTo>
                  <a:pt x="882218" y="1422132"/>
                </a:lnTo>
                <a:lnTo>
                  <a:pt x="928410" y="1431077"/>
                </a:lnTo>
                <a:lnTo>
                  <a:pt x="975256" y="1438108"/>
                </a:lnTo>
                <a:lnTo>
                  <a:pt x="1022715" y="1443182"/>
                </a:lnTo>
                <a:lnTo>
                  <a:pt x="1070744" y="1446257"/>
                </a:lnTo>
                <a:lnTo>
                  <a:pt x="1119302" y="1447291"/>
                </a:lnTo>
                <a:lnTo>
                  <a:pt x="1122731" y="1447291"/>
                </a:lnTo>
                <a:lnTo>
                  <a:pt x="1171285" y="1446098"/>
                </a:lnTo>
                <a:lnTo>
                  <a:pt x="1219305" y="1442866"/>
                </a:lnTo>
                <a:lnTo>
                  <a:pt x="1266749" y="1437639"/>
                </a:lnTo>
                <a:lnTo>
                  <a:pt x="1313574" y="1430457"/>
                </a:lnTo>
                <a:lnTo>
                  <a:pt x="1359738" y="1421364"/>
                </a:lnTo>
                <a:lnTo>
                  <a:pt x="1405200" y="1410401"/>
                </a:lnTo>
                <a:lnTo>
                  <a:pt x="1449919" y="1397610"/>
                </a:lnTo>
                <a:lnTo>
                  <a:pt x="1493851" y="1383035"/>
                </a:lnTo>
                <a:lnTo>
                  <a:pt x="1536955" y="1366715"/>
                </a:lnTo>
                <a:lnTo>
                  <a:pt x="1579190" y="1348695"/>
                </a:lnTo>
                <a:lnTo>
                  <a:pt x="1620513" y="1329015"/>
                </a:lnTo>
                <a:lnTo>
                  <a:pt x="1660883" y="1307718"/>
                </a:lnTo>
                <a:lnTo>
                  <a:pt x="1700257" y="1284847"/>
                </a:lnTo>
                <a:lnTo>
                  <a:pt x="1738595" y="1260442"/>
                </a:lnTo>
                <a:lnTo>
                  <a:pt x="1775853" y="1234547"/>
                </a:lnTo>
                <a:lnTo>
                  <a:pt x="1811990" y="1207203"/>
                </a:lnTo>
                <a:lnTo>
                  <a:pt x="1846965" y="1178453"/>
                </a:lnTo>
                <a:lnTo>
                  <a:pt x="1880735" y="1148338"/>
                </a:lnTo>
                <a:lnTo>
                  <a:pt x="1913258" y="1116901"/>
                </a:lnTo>
                <a:lnTo>
                  <a:pt x="1931869" y="1097406"/>
                </a:lnTo>
                <a:lnTo>
                  <a:pt x="1122731" y="1097406"/>
                </a:lnTo>
                <a:lnTo>
                  <a:pt x="1074061" y="1096198"/>
                </a:lnTo>
                <a:lnTo>
                  <a:pt x="1026177" y="1092018"/>
                </a:lnTo>
                <a:lnTo>
                  <a:pt x="979168" y="1084955"/>
                </a:lnTo>
                <a:lnTo>
                  <a:pt x="933126" y="1075099"/>
                </a:lnTo>
                <a:lnTo>
                  <a:pt x="888141" y="1062540"/>
                </a:lnTo>
                <a:lnTo>
                  <a:pt x="844304" y="1047367"/>
                </a:lnTo>
                <a:lnTo>
                  <a:pt x="801705" y="1029668"/>
                </a:lnTo>
                <a:lnTo>
                  <a:pt x="760436" y="1009535"/>
                </a:lnTo>
                <a:lnTo>
                  <a:pt x="720586" y="987056"/>
                </a:lnTo>
                <a:lnTo>
                  <a:pt x="682248" y="962321"/>
                </a:lnTo>
                <a:lnTo>
                  <a:pt x="645510" y="935419"/>
                </a:lnTo>
                <a:lnTo>
                  <a:pt x="610465" y="906440"/>
                </a:lnTo>
                <a:lnTo>
                  <a:pt x="577202" y="875474"/>
                </a:lnTo>
                <a:lnTo>
                  <a:pt x="545813" y="842609"/>
                </a:lnTo>
                <a:lnTo>
                  <a:pt x="516388" y="807935"/>
                </a:lnTo>
                <a:lnTo>
                  <a:pt x="489018" y="771542"/>
                </a:lnTo>
                <a:lnTo>
                  <a:pt x="463793" y="733519"/>
                </a:lnTo>
                <a:lnTo>
                  <a:pt x="440805" y="693956"/>
                </a:lnTo>
                <a:lnTo>
                  <a:pt x="420143" y="652943"/>
                </a:lnTo>
                <a:lnTo>
                  <a:pt x="401857" y="610450"/>
                </a:lnTo>
                <a:lnTo>
                  <a:pt x="386164" y="566920"/>
                </a:lnTo>
                <a:lnTo>
                  <a:pt x="373027" y="522091"/>
                </a:lnTo>
                <a:lnTo>
                  <a:pt x="362580" y="476169"/>
                </a:lnTo>
                <a:lnTo>
                  <a:pt x="354914" y="429243"/>
                </a:lnTo>
                <a:lnTo>
                  <a:pt x="350118" y="381403"/>
                </a:lnTo>
                <a:lnTo>
                  <a:pt x="348285" y="332739"/>
                </a:lnTo>
                <a:lnTo>
                  <a:pt x="349493" y="284070"/>
                </a:lnTo>
                <a:lnTo>
                  <a:pt x="353675" y="236185"/>
                </a:lnTo>
                <a:lnTo>
                  <a:pt x="360740" y="189177"/>
                </a:lnTo>
                <a:lnTo>
                  <a:pt x="370599" y="143135"/>
                </a:lnTo>
                <a:lnTo>
                  <a:pt x="383162" y="98150"/>
                </a:lnTo>
                <a:lnTo>
                  <a:pt x="398340" y="54312"/>
                </a:lnTo>
                <a:lnTo>
                  <a:pt x="416043" y="11714"/>
                </a:lnTo>
                <a:lnTo>
                  <a:pt x="421759" y="0"/>
                </a:lnTo>
                <a:close/>
              </a:path>
              <a:path w="2239009" h="1447800">
                <a:moveTo>
                  <a:pt x="2189813" y="0"/>
                </a:moveTo>
                <a:lnTo>
                  <a:pt x="1815079" y="0"/>
                </a:lnTo>
                <a:lnTo>
                  <a:pt x="1818559" y="7069"/>
                </a:lnTo>
                <a:lnTo>
                  <a:pt x="1836408" y="49609"/>
                </a:lnTo>
                <a:lnTo>
                  <a:pt x="1851736" y="93398"/>
                </a:lnTo>
                <a:lnTo>
                  <a:pt x="1864451" y="138345"/>
                </a:lnTo>
                <a:lnTo>
                  <a:pt x="1874465" y="184361"/>
                </a:lnTo>
                <a:lnTo>
                  <a:pt x="1881688" y="231354"/>
                </a:lnTo>
                <a:lnTo>
                  <a:pt x="1886032" y="279355"/>
                </a:lnTo>
                <a:lnTo>
                  <a:pt x="1887398" y="327913"/>
                </a:lnTo>
                <a:lnTo>
                  <a:pt x="1885887" y="376462"/>
                </a:lnTo>
                <a:lnTo>
                  <a:pt x="1881454" y="424011"/>
                </a:lnTo>
                <a:lnTo>
                  <a:pt x="1874157" y="470782"/>
                </a:lnTo>
                <a:lnTo>
                  <a:pt x="1864095" y="516580"/>
                </a:lnTo>
                <a:lnTo>
                  <a:pt x="1851357" y="561318"/>
                </a:lnTo>
                <a:lnTo>
                  <a:pt x="1836031" y="604906"/>
                </a:lnTo>
                <a:lnTo>
                  <a:pt x="1818207" y="647254"/>
                </a:lnTo>
                <a:lnTo>
                  <a:pt x="1797972" y="688272"/>
                </a:lnTo>
                <a:lnTo>
                  <a:pt x="1775416" y="727872"/>
                </a:lnTo>
                <a:lnTo>
                  <a:pt x="1750627" y="765964"/>
                </a:lnTo>
                <a:lnTo>
                  <a:pt x="1723694" y="802459"/>
                </a:lnTo>
                <a:lnTo>
                  <a:pt x="1694706" y="837267"/>
                </a:lnTo>
                <a:lnTo>
                  <a:pt x="1663751" y="870299"/>
                </a:lnTo>
                <a:lnTo>
                  <a:pt x="1630918" y="901465"/>
                </a:lnTo>
                <a:lnTo>
                  <a:pt x="1596296" y="930676"/>
                </a:lnTo>
                <a:lnTo>
                  <a:pt x="1559973" y="957843"/>
                </a:lnTo>
                <a:lnTo>
                  <a:pt x="1522038" y="982876"/>
                </a:lnTo>
                <a:lnTo>
                  <a:pt x="1482581" y="1005686"/>
                </a:lnTo>
                <a:lnTo>
                  <a:pt x="1441689" y="1026184"/>
                </a:lnTo>
                <a:lnTo>
                  <a:pt x="1399451" y="1044279"/>
                </a:lnTo>
                <a:lnTo>
                  <a:pt x="1355956" y="1059884"/>
                </a:lnTo>
                <a:lnTo>
                  <a:pt x="1311293" y="1072907"/>
                </a:lnTo>
                <a:lnTo>
                  <a:pt x="1265550" y="1083261"/>
                </a:lnTo>
                <a:lnTo>
                  <a:pt x="1218816" y="1090855"/>
                </a:lnTo>
                <a:lnTo>
                  <a:pt x="1171180" y="1095600"/>
                </a:lnTo>
                <a:lnTo>
                  <a:pt x="1122731" y="1097406"/>
                </a:lnTo>
                <a:lnTo>
                  <a:pt x="1931869" y="1097406"/>
                </a:lnTo>
                <a:lnTo>
                  <a:pt x="1974398" y="1050228"/>
                </a:lnTo>
                <a:lnTo>
                  <a:pt x="2002931" y="1015077"/>
                </a:lnTo>
                <a:lnTo>
                  <a:pt x="2030049" y="978771"/>
                </a:lnTo>
                <a:lnTo>
                  <a:pt x="2055712" y="941354"/>
                </a:lnTo>
                <a:lnTo>
                  <a:pt x="2079877" y="902868"/>
                </a:lnTo>
                <a:lnTo>
                  <a:pt x="2102503" y="863353"/>
                </a:lnTo>
                <a:lnTo>
                  <a:pt x="2123547" y="822854"/>
                </a:lnTo>
                <a:lnTo>
                  <a:pt x="2142967" y="781410"/>
                </a:lnTo>
                <a:lnTo>
                  <a:pt x="2160723" y="739066"/>
                </a:lnTo>
                <a:lnTo>
                  <a:pt x="2176771" y="695862"/>
                </a:lnTo>
                <a:lnTo>
                  <a:pt x="2191071" y="651842"/>
                </a:lnTo>
                <a:lnTo>
                  <a:pt x="2203579" y="607046"/>
                </a:lnTo>
                <a:lnTo>
                  <a:pt x="2214293" y="561318"/>
                </a:lnTo>
                <a:lnTo>
                  <a:pt x="2223057" y="515299"/>
                </a:lnTo>
                <a:lnTo>
                  <a:pt x="2229942" y="468431"/>
                </a:lnTo>
                <a:lnTo>
                  <a:pt x="2234869" y="420957"/>
                </a:lnTo>
                <a:lnTo>
                  <a:pt x="2237795" y="372918"/>
                </a:lnTo>
                <a:lnTo>
                  <a:pt x="2238680" y="324357"/>
                </a:lnTo>
                <a:lnTo>
                  <a:pt x="2237491" y="275911"/>
                </a:lnTo>
                <a:lnTo>
                  <a:pt x="2234272" y="227997"/>
                </a:lnTo>
                <a:lnTo>
                  <a:pt x="2229066" y="180655"/>
                </a:lnTo>
                <a:lnTo>
                  <a:pt x="2221914" y="133928"/>
                </a:lnTo>
                <a:lnTo>
                  <a:pt x="2212858" y="87858"/>
                </a:lnTo>
                <a:lnTo>
                  <a:pt x="2201939" y="42485"/>
                </a:lnTo>
                <a:lnTo>
                  <a:pt x="2189813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defTabSz="634548"/>
            <a:endParaRPr sz="1249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DE04FEEE-904B-F42F-8CBB-DEA43F468C2C}"/>
              </a:ext>
            </a:extLst>
          </p:cNvPr>
          <p:cNvSpPr/>
          <p:nvPr userDrawn="1"/>
        </p:nvSpPr>
        <p:spPr>
          <a:xfrm>
            <a:off x="6491487" y="383556"/>
            <a:ext cx="563534" cy="558765"/>
          </a:xfrm>
          <a:custGeom>
            <a:avLst/>
            <a:gdLst/>
            <a:ahLst/>
            <a:cxnLst/>
            <a:rect l="l" t="t" r="r" b="b"/>
            <a:pathLst>
              <a:path w="805179" h="805180">
                <a:moveTo>
                  <a:pt x="402335" y="0"/>
                </a:moveTo>
                <a:lnTo>
                  <a:pt x="355406" y="2706"/>
                </a:lnTo>
                <a:lnTo>
                  <a:pt x="310069" y="10623"/>
                </a:lnTo>
                <a:lnTo>
                  <a:pt x="266626" y="23450"/>
                </a:lnTo>
                <a:lnTo>
                  <a:pt x="225378" y="40885"/>
                </a:lnTo>
                <a:lnTo>
                  <a:pt x="186628" y="62627"/>
                </a:lnTo>
                <a:lnTo>
                  <a:pt x="150676" y="88374"/>
                </a:lnTo>
                <a:lnTo>
                  <a:pt x="117824" y="117824"/>
                </a:lnTo>
                <a:lnTo>
                  <a:pt x="88374" y="150676"/>
                </a:lnTo>
                <a:lnTo>
                  <a:pt x="62627" y="186628"/>
                </a:lnTo>
                <a:lnTo>
                  <a:pt x="40885" y="225378"/>
                </a:lnTo>
                <a:lnTo>
                  <a:pt x="23450" y="266626"/>
                </a:lnTo>
                <a:lnTo>
                  <a:pt x="10623" y="310069"/>
                </a:lnTo>
                <a:lnTo>
                  <a:pt x="2706" y="355406"/>
                </a:lnTo>
                <a:lnTo>
                  <a:pt x="0" y="402335"/>
                </a:lnTo>
                <a:lnTo>
                  <a:pt x="2706" y="449265"/>
                </a:lnTo>
                <a:lnTo>
                  <a:pt x="10623" y="494602"/>
                </a:lnTo>
                <a:lnTo>
                  <a:pt x="23450" y="538045"/>
                </a:lnTo>
                <a:lnTo>
                  <a:pt x="40885" y="579293"/>
                </a:lnTo>
                <a:lnTo>
                  <a:pt x="62627" y="618043"/>
                </a:lnTo>
                <a:lnTo>
                  <a:pt x="88374" y="653995"/>
                </a:lnTo>
                <a:lnTo>
                  <a:pt x="117824" y="686847"/>
                </a:lnTo>
                <a:lnTo>
                  <a:pt x="150676" y="716297"/>
                </a:lnTo>
                <a:lnTo>
                  <a:pt x="186628" y="742044"/>
                </a:lnTo>
                <a:lnTo>
                  <a:pt x="225378" y="763786"/>
                </a:lnTo>
                <a:lnTo>
                  <a:pt x="266626" y="781221"/>
                </a:lnTo>
                <a:lnTo>
                  <a:pt x="310069" y="794048"/>
                </a:lnTo>
                <a:lnTo>
                  <a:pt x="355406" y="801965"/>
                </a:lnTo>
                <a:lnTo>
                  <a:pt x="402335" y="804672"/>
                </a:lnTo>
                <a:lnTo>
                  <a:pt x="449265" y="801965"/>
                </a:lnTo>
                <a:lnTo>
                  <a:pt x="494602" y="794048"/>
                </a:lnTo>
                <a:lnTo>
                  <a:pt x="538045" y="781221"/>
                </a:lnTo>
                <a:lnTo>
                  <a:pt x="579293" y="763786"/>
                </a:lnTo>
                <a:lnTo>
                  <a:pt x="618043" y="742044"/>
                </a:lnTo>
                <a:lnTo>
                  <a:pt x="653995" y="716297"/>
                </a:lnTo>
                <a:lnTo>
                  <a:pt x="686847" y="686847"/>
                </a:lnTo>
                <a:lnTo>
                  <a:pt x="716297" y="653995"/>
                </a:lnTo>
                <a:lnTo>
                  <a:pt x="742044" y="618043"/>
                </a:lnTo>
                <a:lnTo>
                  <a:pt x="763786" y="579293"/>
                </a:lnTo>
                <a:lnTo>
                  <a:pt x="781221" y="538045"/>
                </a:lnTo>
                <a:lnTo>
                  <a:pt x="794048" y="494602"/>
                </a:lnTo>
                <a:lnTo>
                  <a:pt x="801965" y="449265"/>
                </a:lnTo>
                <a:lnTo>
                  <a:pt x="804671" y="402335"/>
                </a:lnTo>
                <a:lnTo>
                  <a:pt x="801965" y="355406"/>
                </a:lnTo>
                <a:lnTo>
                  <a:pt x="794048" y="310069"/>
                </a:lnTo>
                <a:lnTo>
                  <a:pt x="781221" y="266626"/>
                </a:lnTo>
                <a:lnTo>
                  <a:pt x="763786" y="225378"/>
                </a:lnTo>
                <a:lnTo>
                  <a:pt x="742044" y="186628"/>
                </a:lnTo>
                <a:lnTo>
                  <a:pt x="716297" y="150676"/>
                </a:lnTo>
                <a:lnTo>
                  <a:pt x="686847" y="117824"/>
                </a:lnTo>
                <a:lnTo>
                  <a:pt x="653995" y="88374"/>
                </a:lnTo>
                <a:lnTo>
                  <a:pt x="618043" y="62627"/>
                </a:lnTo>
                <a:lnTo>
                  <a:pt x="579293" y="40885"/>
                </a:lnTo>
                <a:lnTo>
                  <a:pt x="538045" y="23450"/>
                </a:lnTo>
                <a:lnTo>
                  <a:pt x="494602" y="10623"/>
                </a:lnTo>
                <a:lnTo>
                  <a:pt x="449265" y="2706"/>
                </a:lnTo>
                <a:lnTo>
                  <a:pt x="402335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defTabSz="634548"/>
            <a:endParaRPr sz="1249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A033AB7A-5BA9-AA55-9B3E-FFC871CAAC9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982" y="204766"/>
            <a:ext cx="1106883" cy="644178"/>
          </a:xfrm>
          <a:prstGeom prst="rect">
            <a:avLst/>
          </a:prstGeom>
        </p:spPr>
      </p:pic>
      <p:sp>
        <p:nvSpPr>
          <p:cNvPr id="8" name="Espaço Reservado para Título 17">
            <a:extLst>
              <a:ext uri="{FF2B5EF4-FFF2-40B4-BE49-F238E27FC236}">
                <a16:creationId xmlns:a16="http://schemas.microsoft.com/office/drawing/2014/main" id="{18851D86-05BF-BF2F-BCB3-CDA789FEC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006" y="427757"/>
            <a:ext cx="6111248" cy="514564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>
              <a:defRPr sz="2700">
                <a:solidFill>
                  <a:srgbClr val="F1653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/>
              <a:t>Clique para editar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575057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339FF7-E679-BC64-FE01-C49096429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4562" y="2848767"/>
            <a:ext cx="68326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5400" b="1" i="0" u="none" strike="noStrike" kern="1200" cap="all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</a:t>
            </a:r>
            <a:r>
              <a:rPr lang="pt-BR" err="1"/>
              <a:t>títulO</a:t>
            </a:r>
            <a:endParaRPr lang="pt-BR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74D81A32-4C7C-0CCE-4AE1-180F087D38D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9BD457A8-84E7-7430-6D08-43149ED43C5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643448" y="4877887"/>
            <a:ext cx="1577057" cy="1853043"/>
          </a:xfrm>
          <a:prstGeom prst="rect">
            <a:avLst/>
          </a:prstGeom>
        </p:spPr>
      </p:pic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0D810081-EA73-009A-C87B-3D42044833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449218"/>
            <a:ext cx="6832600" cy="447675"/>
          </a:xfrm>
        </p:spPr>
        <p:txBody>
          <a:bodyPr lIns="144000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C8458586-A2E0-FAC7-BE44-2EA68F6CF9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4400" y="4205706"/>
            <a:ext cx="6832600" cy="447675"/>
          </a:xfrm>
        </p:spPr>
        <p:txBody>
          <a:bodyPr lIns="144000" anchor="t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24C9451C-4B61-4874-1435-D78622F233B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75600" y="-2844501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2290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7" name="Arco">
            <a:extLst>
              <a:ext uri="{FF2B5EF4-FFF2-40B4-BE49-F238E27FC236}">
                <a16:creationId xmlns:a16="http://schemas.microsoft.com/office/drawing/2014/main" id="{FEACC453-19FE-F672-C06C-EFABEC608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604789">
            <a:off x="6305041" y="536830"/>
            <a:ext cx="2987899" cy="2987899"/>
          </a:xfrm>
          <a:prstGeom prst="arc">
            <a:avLst>
              <a:gd name="adj1" fmla="val 14455503"/>
              <a:gd name="adj2" fmla="val 0"/>
            </a:avLst>
          </a:prstGeom>
          <a:ln w="127000" cap="rnd">
            <a:solidFill>
              <a:schemeClr val="bg2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: Rounded Corners 11">
            <a:extLst>
              <a:ext uri="{FF2B5EF4-FFF2-40B4-BE49-F238E27FC236}">
                <a16:creationId xmlns:a16="http://schemas.microsoft.com/office/drawing/2014/main" id="{5DDD0DB3-501E-0143-8384-4B5B0B19366F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725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2" name="Espaço Reservado para Gráfico 7">
            <a:extLst>
              <a:ext uri="{FF2B5EF4-FFF2-40B4-BE49-F238E27FC236}">
                <a16:creationId xmlns:a16="http://schemas.microsoft.com/office/drawing/2014/main" id="{794511CE-6AEF-6FC7-2BBF-27E054E2A87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096321" y="1365660"/>
            <a:ext cx="3298629" cy="1941860"/>
          </a:xfrm>
        </p:spPr>
        <p:txBody>
          <a:bodyPr/>
          <a:lstStyle/>
          <a:p>
            <a:endParaRPr lang="pt-BR"/>
          </a:p>
        </p:txBody>
      </p:sp>
      <p:sp>
        <p:nvSpPr>
          <p:cNvPr id="3" name="Espaço Reservado para Gráfico 7">
            <a:extLst>
              <a:ext uri="{FF2B5EF4-FFF2-40B4-BE49-F238E27FC236}">
                <a16:creationId xmlns:a16="http://schemas.microsoft.com/office/drawing/2014/main" id="{ABB453D1-8782-5B15-4AA3-58BC9064C3C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096321" y="4274791"/>
            <a:ext cx="3298629" cy="1941860"/>
          </a:xfrm>
        </p:spPr>
        <p:txBody>
          <a:bodyPr/>
          <a:lstStyle/>
          <a:p>
            <a:endParaRPr lang="pt-BR"/>
          </a:p>
        </p:txBody>
      </p:sp>
      <p:pic>
        <p:nvPicPr>
          <p:cNvPr id="4" name="Imagem 3" descr="Logotipo&#10;&#10;Descrição gerada automaticamente">
            <a:extLst>
              <a:ext uri="{FF2B5EF4-FFF2-40B4-BE49-F238E27FC236}">
                <a16:creationId xmlns:a16="http://schemas.microsoft.com/office/drawing/2014/main" id="{661E7BC8-B2B9-4F0A-8111-4B95CFCCF33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2570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ipse 9">
            <a:extLst>
              <a:ext uri="{FF2B5EF4-FFF2-40B4-BE49-F238E27FC236}">
                <a16:creationId xmlns:a16="http://schemas.microsoft.com/office/drawing/2014/main" id="{1DA6EAF7-7A58-A806-93AB-79252ADE3D02}"/>
              </a:ext>
            </a:extLst>
          </p:cNvPr>
          <p:cNvSpPr/>
          <p:nvPr userDrawn="1"/>
        </p:nvSpPr>
        <p:spPr>
          <a:xfrm>
            <a:off x="5991426" y="507252"/>
            <a:ext cx="3400926" cy="3400926"/>
          </a:xfrm>
          <a:prstGeom prst="ellipse">
            <a:avLst/>
          </a:prstGeom>
          <a:noFill/>
          <a:ln w="57150" cap="rnd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825313D-A284-DF6E-CA0F-9FEA8047887C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5880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1FD21CF0-8B64-28CD-3AED-D44ED776FC9F}"/>
              </a:ext>
            </a:extLst>
          </p:cNvPr>
          <p:cNvSpPr/>
          <p:nvPr userDrawn="1"/>
        </p:nvSpPr>
        <p:spPr>
          <a:xfrm>
            <a:off x="914400" y="1857271"/>
            <a:ext cx="5067300" cy="3145834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86585591-BA78-5F86-74B4-C6BBAFFD1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949" y="2124501"/>
            <a:ext cx="4184649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9BFCA3B0-88F8-CAC6-A24A-936EBBE34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92950" y="3817938"/>
            <a:ext cx="4184650" cy="1176337"/>
          </a:xfrm>
        </p:spPr>
        <p:txBody>
          <a:bodyPr>
            <a:normAutofit/>
          </a:bodyPr>
          <a:lstStyle>
            <a:lvl1pPr marR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637AC9F0-E48A-ACAF-2021-2D19AFEAF8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92950" y="1729890"/>
            <a:ext cx="4184650" cy="347663"/>
          </a:xfrm>
        </p:spPr>
        <p:txBody>
          <a:bodyPr>
            <a:norm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100" b="0" i="0" u="none" strike="noStrike" cap="all" spc="1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090738"/>
            <a:ext cx="4676775" cy="2674937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702047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41749C37-0E1C-DA14-42C3-889AC06FF72F}"/>
              </a:ext>
            </a:extLst>
          </p:cNvPr>
          <p:cNvSpPr/>
          <p:nvPr userDrawn="1"/>
        </p:nvSpPr>
        <p:spPr>
          <a:xfrm>
            <a:off x="699837" y="2090737"/>
            <a:ext cx="5496426" cy="34004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02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295774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2AC255A1-9E21-0591-850C-D24AC51F84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951" y="1862138"/>
            <a:ext cx="418465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u="none">
                <a:solidFill>
                  <a:schemeClr val="accent2"/>
                </a:solidFill>
              </a:defRPr>
            </a:lvl1pPr>
            <a:lvl2pPr marL="0" indent="0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tx2"/>
                </a:solidFill>
              </a:defRPr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56008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438030"/>
            <a:ext cx="4676775" cy="2674937"/>
          </a:xfrm>
        </p:spPr>
        <p:txBody>
          <a:bodyPr/>
          <a:lstStyle/>
          <a:p>
            <a:endParaRPr lang="pt-BR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ADF69FDE-B23B-9656-AB0E-FA565B8CC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55275"/>
            <a:ext cx="7160897" cy="476190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A55B6DD7-EF35-1A47-0682-FB0263AE46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BB7C3AF-C957-8BE3-AA41-01756EF205A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2" name="Espaço Reservado para Gráfico 7">
            <a:extLst>
              <a:ext uri="{FF2B5EF4-FFF2-40B4-BE49-F238E27FC236}">
                <a16:creationId xmlns:a16="http://schemas.microsoft.com/office/drawing/2014/main" id="{794511CE-6AEF-6FC7-2BBF-27E054E2A87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096321" y="1365660"/>
            <a:ext cx="3298629" cy="1941860"/>
          </a:xfrm>
        </p:spPr>
        <p:txBody>
          <a:bodyPr/>
          <a:lstStyle/>
          <a:p>
            <a:endParaRPr lang="pt-BR"/>
          </a:p>
        </p:txBody>
      </p:sp>
      <p:sp>
        <p:nvSpPr>
          <p:cNvPr id="3" name="Espaço Reservado para Gráfico 7">
            <a:extLst>
              <a:ext uri="{FF2B5EF4-FFF2-40B4-BE49-F238E27FC236}">
                <a16:creationId xmlns:a16="http://schemas.microsoft.com/office/drawing/2014/main" id="{ABB453D1-8782-5B15-4AA3-58BC9064C3C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096321" y="4274791"/>
            <a:ext cx="3298629" cy="1941860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928167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ço Reservado para Imagem 19">
            <a:extLst>
              <a:ext uri="{FF2B5EF4-FFF2-40B4-BE49-F238E27FC236}">
                <a16:creationId xmlns:a16="http://schemas.microsoft.com/office/drawing/2014/main" id="{F9F2879B-1708-B68F-540E-494C085AD7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8390" y="1527646"/>
            <a:ext cx="4170660" cy="4170660"/>
          </a:xfrm>
          <a:prstGeom prst="ellipse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9647610-F492-48EE-CCB8-AD39FEEDC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2816225"/>
            <a:ext cx="50673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4800" b="1" i="0" u="none" strike="noStrike" cap="none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AD957BC-C55B-0228-16B7-203A598615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44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3E6DD1D3-15F5-4616-A348-AC448C8A14AB}" type="datetimeFigureOut">
              <a:rPr lang="pt-BR" smtClean="0"/>
              <a:t>16/05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4899489-77E4-8AF7-E1D1-B8CA56026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9760599-4CA6-3D27-2B73-A6CBCEE6E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F43D91A0-3E8E-4090-8D40-C0F9E742A5CB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Círculo (Outline Foto)">
            <a:extLst>
              <a:ext uri="{FF2B5EF4-FFF2-40B4-BE49-F238E27FC236}">
                <a16:creationId xmlns:a16="http://schemas.microsoft.com/office/drawing/2014/main" id="{DEE7ED6F-280B-4BC1-CF9E-415E582F157A}"/>
              </a:ext>
            </a:extLst>
          </p:cNvPr>
          <p:cNvSpPr/>
          <p:nvPr userDrawn="1"/>
        </p:nvSpPr>
        <p:spPr>
          <a:xfrm>
            <a:off x="805218" y="1404474"/>
            <a:ext cx="4417004" cy="4417004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10" name="Grafismo - Círculos">
            <a:extLst>
              <a:ext uri="{FF2B5EF4-FFF2-40B4-BE49-F238E27FC236}">
                <a16:creationId xmlns:a16="http://schemas.microsoft.com/office/drawing/2014/main" id="{B7C94C14-8C01-C13E-14B6-1ECF9CC706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135889" y="274462"/>
            <a:ext cx="1837252" cy="2158772"/>
          </a:xfrm>
          <a:prstGeom prst="rect">
            <a:avLst/>
          </a:prstGeom>
        </p:spPr>
      </p:pic>
      <p:grpSp>
        <p:nvGrpSpPr>
          <p:cNvPr id="12" name="Grafismo - Topografia">
            <a:extLst>
              <a:ext uri="{FF2B5EF4-FFF2-40B4-BE49-F238E27FC236}">
                <a16:creationId xmlns:a16="http://schemas.microsoft.com/office/drawing/2014/main" id="{7CCC5CB8-61CD-43A9-DF2F-4F45D1B21138}"/>
              </a:ext>
            </a:extLst>
          </p:cNvPr>
          <p:cNvGrpSpPr/>
          <p:nvPr userDrawn="1"/>
        </p:nvGrpSpPr>
        <p:grpSpPr>
          <a:xfrm rot="10800000">
            <a:off x="161924" y="6509730"/>
            <a:ext cx="12030075" cy="475316"/>
            <a:chOff x="0" y="6347706"/>
            <a:chExt cx="11687627" cy="461786"/>
          </a:xfrm>
        </p:grpSpPr>
        <p:pic>
          <p:nvPicPr>
            <p:cNvPr id="13" name="Google Shape;108;p2">
              <a:extLst>
                <a:ext uri="{FF2B5EF4-FFF2-40B4-BE49-F238E27FC236}">
                  <a16:creationId xmlns:a16="http://schemas.microsoft.com/office/drawing/2014/main" id="{60B6082C-721D-B164-36FA-60EC2677FB63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 b="61474"/>
            <a:stretch/>
          </p:blipFill>
          <p:spPr>
            <a:xfrm>
              <a:off x="0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" name="Google Shape;109;p2">
              <a:extLst>
                <a:ext uri="{FF2B5EF4-FFF2-40B4-BE49-F238E27FC236}">
                  <a16:creationId xmlns:a16="http://schemas.microsoft.com/office/drawing/2014/main" id="{780DA761-98CD-4A24-6B8B-363BFEA33EEB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 b="61474"/>
            <a:stretch/>
          </p:blipFill>
          <p:spPr>
            <a:xfrm>
              <a:off x="5838371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6" name="Logo">
            <a:extLst>
              <a:ext uri="{FF2B5EF4-FFF2-40B4-BE49-F238E27FC236}">
                <a16:creationId xmlns:a16="http://schemas.microsoft.com/office/drawing/2014/main" id="{1A7D77B8-D82B-EE46-59A3-B08122B3BBE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34286" y="1200983"/>
            <a:ext cx="1412714" cy="829797"/>
          </a:xfrm>
          <a:prstGeom prst="rect">
            <a:avLst/>
          </a:prstGeom>
        </p:spPr>
      </p:pic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A590A436-C4FC-90AF-4136-6CB7CD1825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4268788"/>
            <a:ext cx="5067300" cy="365125"/>
          </a:xfrm>
        </p:spPr>
        <p:txBody>
          <a:bodyPr>
            <a:normAutofit/>
          </a:bodyPr>
          <a:lstStyle>
            <a:lvl1pPr>
              <a:defRPr lang="pt-BR" sz="1100" b="0" i="0" u="none" strike="noStrike" kern="1200" cap="all" spc="1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25" name="Espaço Reservado para Imagem 24">
            <a:extLst>
              <a:ext uri="{FF2B5EF4-FFF2-40B4-BE49-F238E27FC236}">
                <a16:creationId xmlns:a16="http://schemas.microsoft.com/office/drawing/2014/main" id="{00B443F9-E135-FF3E-E804-8FB8BE3E81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" y="1862138"/>
            <a:ext cx="2419350" cy="2178050"/>
          </a:xfrm>
        </p:spPr>
        <p:txBody>
          <a:bodyPr/>
          <a:lstStyle>
            <a:lvl1pPr algn="ctr">
              <a:defRPr b="0">
                <a:solidFill>
                  <a:schemeClr val="accent2"/>
                </a:solidFill>
              </a:defRPr>
            </a:lvl1pPr>
          </a:lstStyle>
          <a:p>
            <a:r>
              <a:rPr lang="pt-BR"/>
              <a:t>Grafismo </a:t>
            </a:r>
            <a:br>
              <a:rPr lang="pt-BR"/>
            </a:br>
            <a:r>
              <a:rPr lang="pt-BR"/>
              <a:t>(opcional)</a:t>
            </a:r>
          </a:p>
        </p:txBody>
      </p:sp>
      <p:pic>
        <p:nvPicPr>
          <p:cNvPr id="26" name="Gráfico 25">
            <a:extLst>
              <a:ext uri="{FF2B5EF4-FFF2-40B4-BE49-F238E27FC236}">
                <a16:creationId xmlns:a16="http://schemas.microsoft.com/office/drawing/2014/main" id="{F1A091A3-AFD6-49CA-1829-37DA249DD2C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85919" y="-483062"/>
            <a:ext cx="1577057" cy="185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490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758649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2691731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2094225"/>
            <a:ext cx="2398847" cy="2398847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/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C5BCF3B3-3544-DAA9-5634-21C61FEECDBC}"/>
              </a:ext>
            </a:extLst>
          </p:cNvPr>
          <p:cNvSpPr/>
          <p:nvPr userDrawn="1"/>
        </p:nvSpPr>
        <p:spPr>
          <a:xfrm>
            <a:off x="931579" y="2094225"/>
            <a:ext cx="5055268" cy="36290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B5DF07B2-02A4-CB71-CA7E-52A98612C97F}"/>
              </a:ext>
            </a:extLst>
          </p:cNvPr>
          <p:cNvSpPr/>
          <p:nvPr userDrawn="1"/>
        </p:nvSpPr>
        <p:spPr>
          <a:xfrm>
            <a:off x="6223200" y="2094224"/>
            <a:ext cx="5054400" cy="362226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13" name="Título 8">
            <a:extLst>
              <a:ext uri="{FF2B5EF4-FFF2-40B4-BE49-F238E27FC236}">
                <a16:creationId xmlns:a16="http://schemas.microsoft.com/office/drawing/2014/main" id="{7CD44CD7-56CD-8EB0-6CDD-B78477F92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09" y="641350"/>
            <a:ext cx="5969841" cy="92174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0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7" name="Espaço Reservado para Conteúdo 16">
            <a:extLst>
              <a:ext uri="{FF2B5EF4-FFF2-40B4-BE49-F238E27FC236}">
                <a16:creationId xmlns:a16="http://schemas.microsoft.com/office/drawing/2014/main" id="{70EC372B-880B-D5C5-1EC1-C8E4283A3C5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0139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8" name="Espaço Reservado para Conteúdo 16">
            <a:extLst>
              <a:ext uri="{FF2B5EF4-FFF2-40B4-BE49-F238E27FC236}">
                <a16:creationId xmlns:a16="http://schemas.microsoft.com/office/drawing/2014/main" id="{DD68C171-7AB8-FCB5-8C97-0B242937AF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01326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115521732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ipse 10">
            <a:extLst>
              <a:ext uri="{FF2B5EF4-FFF2-40B4-BE49-F238E27FC236}">
                <a16:creationId xmlns:a16="http://schemas.microsoft.com/office/drawing/2014/main" id="{33D9D3EE-07B8-DDE0-D24C-617A25DF28E4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6178550" y="-394648"/>
            <a:ext cx="6228000" cy="62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spaço Reservado para Imagem 9">
            <a:extLst>
              <a:ext uri="{FF2B5EF4-FFF2-40B4-BE49-F238E27FC236}">
                <a16:creationId xmlns:a16="http://schemas.microsoft.com/office/drawing/2014/main" id="{FBBB0E18-BC75-0FC9-7E6F-94F735FD7A0A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78335" y="-394649"/>
            <a:ext cx="6228231" cy="5890966"/>
          </a:xfrm>
          <a:custGeom>
            <a:avLst/>
            <a:gdLst>
              <a:gd name="connsiteX0" fmla="*/ 0 w 6228000"/>
              <a:gd name="connsiteY0" fmla="*/ 3114000 h 6228000"/>
              <a:gd name="connsiteX1" fmla="*/ 3114000 w 6228000"/>
              <a:gd name="connsiteY1" fmla="*/ 0 h 6228000"/>
              <a:gd name="connsiteX2" fmla="*/ 6228000 w 6228000"/>
              <a:gd name="connsiteY2" fmla="*/ 3114000 h 6228000"/>
              <a:gd name="connsiteX3" fmla="*/ 3114000 w 6228000"/>
              <a:gd name="connsiteY3" fmla="*/ 6228000 h 6228000"/>
              <a:gd name="connsiteX4" fmla="*/ 0 w 6228000"/>
              <a:gd name="connsiteY4" fmla="*/ 3114000 h 6228000"/>
              <a:gd name="connsiteX0" fmla="*/ 335458 w 6563458"/>
              <a:gd name="connsiteY0" fmla="*/ 3114000 h 6235728"/>
              <a:gd name="connsiteX1" fmla="*/ 3449458 w 6563458"/>
              <a:gd name="connsiteY1" fmla="*/ 0 h 6235728"/>
              <a:gd name="connsiteX2" fmla="*/ 6563458 w 6563458"/>
              <a:gd name="connsiteY2" fmla="*/ 3114000 h 6235728"/>
              <a:gd name="connsiteX3" fmla="*/ 3449458 w 6563458"/>
              <a:gd name="connsiteY3" fmla="*/ 6228000 h 6235728"/>
              <a:gd name="connsiteX4" fmla="*/ 436684 w 6563458"/>
              <a:gd name="connsiteY4" fmla="*/ 3971566 h 6235728"/>
              <a:gd name="connsiteX5" fmla="*/ 335458 w 6563458"/>
              <a:gd name="connsiteY5" fmla="*/ 3114000 h 6235728"/>
              <a:gd name="connsiteX0" fmla="*/ 198652 w 6426652"/>
              <a:gd name="connsiteY0" fmla="*/ 3114000 h 6235728"/>
              <a:gd name="connsiteX1" fmla="*/ 3312652 w 6426652"/>
              <a:gd name="connsiteY1" fmla="*/ 0 h 6235728"/>
              <a:gd name="connsiteX2" fmla="*/ 6426652 w 6426652"/>
              <a:gd name="connsiteY2" fmla="*/ 3114000 h 6235728"/>
              <a:gd name="connsiteX3" fmla="*/ 3312652 w 6426652"/>
              <a:gd name="connsiteY3" fmla="*/ 6228000 h 6235728"/>
              <a:gd name="connsiteX4" fmla="*/ 299878 w 6426652"/>
              <a:gd name="connsiteY4" fmla="*/ 3971566 h 6235728"/>
              <a:gd name="connsiteX5" fmla="*/ 198652 w 6426652"/>
              <a:gd name="connsiteY5" fmla="*/ 3114000 h 6235728"/>
              <a:gd name="connsiteX0" fmla="*/ 0 w 6228000"/>
              <a:gd name="connsiteY0" fmla="*/ 3114000 h 6235728"/>
              <a:gd name="connsiteX1" fmla="*/ 3114000 w 6228000"/>
              <a:gd name="connsiteY1" fmla="*/ 0 h 6235728"/>
              <a:gd name="connsiteX2" fmla="*/ 6228000 w 6228000"/>
              <a:gd name="connsiteY2" fmla="*/ 3114000 h 6235728"/>
              <a:gd name="connsiteX3" fmla="*/ 3114000 w 6228000"/>
              <a:gd name="connsiteY3" fmla="*/ 6228000 h 6235728"/>
              <a:gd name="connsiteX4" fmla="*/ 101226 w 6228000"/>
              <a:gd name="connsiteY4" fmla="*/ 3971566 h 6235728"/>
              <a:gd name="connsiteX5" fmla="*/ 0 w 6228000"/>
              <a:gd name="connsiteY5" fmla="*/ 3114000 h 6235728"/>
              <a:gd name="connsiteX0" fmla="*/ 3161 w 6231161"/>
              <a:gd name="connsiteY0" fmla="*/ 3114000 h 6235728"/>
              <a:gd name="connsiteX1" fmla="*/ 3117161 w 6231161"/>
              <a:gd name="connsiteY1" fmla="*/ 0 h 6235728"/>
              <a:gd name="connsiteX2" fmla="*/ 6231161 w 6231161"/>
              <a:gd name="connsiteY2" fmla="*/ 3114000 h 6235728"/>
              <a:gd name="connsiteX3" fmla="*/ 3117161 w 6231161"/>
              <a:gd name="connsiteY3" fmla="*/ 6228000 h 6235728"/>
              <a:gd name="connsiteX4" fmla="*/ 104387 w 6231161"/>
              <a:gd name="connsiteY4" fmla="*/ 3971566 h 6235728"/>
              <a:gd name="connsiteX5" fmla="*/ 3161 w 6231161"/>
              <a:gd name="connsiteY5" fmla="*/ 3114000 h 6235728"/>
              <a:gd name="connsiteX0" fmla="*/ 3161 w 6231161"/>
              <a:gd name="connsiteY0" fmla="*/ 3114000 h 6234127"/>
              <a:gd name="connsiteX1" fmla="*/ 3117161 w 6231161"/>
              <a:gd name="connsiteY1" fmla="*/ 0 h 6234127"/>
              <a:gd name="connsiteX2" fmla="*/ 6231161 w 6231161"/>
              <a:gd name="connsiteY2" fmla="*/ 3114000 h 6234127"/>
              <a:gd name="connsiteX3" fmla="*/ 3117161 w 6231161"/>
              <a:gd name="connsiteY3" fmla="*/ 6228000 h 6234127"/>
              <a:gd name="connsiteX4" fmla="*/ 104387 w 6231161"/>
              <a:gd name="connsiteY4" fmla="*/ 3971566 h 6234127"/>
              <a:gd name="connsiteX5" fmla="*/ 3161 w 6231161"/>
              <a:gd name="connsiteY5" fmla="*/ 3114000 h 6234127"/>
              <a:gd name="connsiteX0" fmla="*/ 232739 w 6460739"/>
              <a:gd name="connsiteY0" fmla="*/ 3114000 h 4134120"/>
              <a:gd name="connsiteX1" fmla="*/ 3346739 w 6460739"/>
              <a:gd name="connsiteY1" fmla="*/ 0 h 4134120"/>
              <a:gd name="connsiteX2" fmla="*/ 6460739 w 6460739"/>
              <a:gd name="connsiteY2" fmla="*/ 3114000 h 4134120"/>
              <a:gd name="connsiteX3" fmla="*/ 4624210 w 6460739"/>
              <a:gd name="connsiteY3" fmla="*/ 3968895 h 4134120"/>
              <a:gd name="connsiteX4" fmla="*/ 333965 w 6460739"/>
              <a:gd name="connsiteY4" fmla="*/ 3971566 h 4134120"/>
              <a:gd name="connsiteX5" fmla="*/ 232739 w 6460739"/>
              <a:gd name="connsiteY5" fmla="*/ 3114000 h 4134120"/>
              <a:gd name="connsiteX0" fmla="*/ 232739 w 6533426"/>
              <a:gd name="connsiteY0" fmla="*/ 3114000 h 4101226"/>
              <a:gd name="connsiteX1" fmla="*/ 3346739 w 6533426"/>
              <a:gd name="connsiteY1" fmla="*/ 0 h 4101226"/>
              <a:gd name="connsiteX2" fmla="*/ 6460739 w 6533426"/>
              <a:gd name="connsiteY2" fmla="*/ 3114000 h 4101226"/>
              <a:gd name="connsiteX3" fmla="*/ 5470743 w 6533426"/>
              <a:gd name="connsiteY3" fmla="*/ 4052249 h 4101226"/>
              <a:gd name="connsiteX4" fmla="*/ 4624210 w 6533426"/>
              <a:gd name="connsiteY4" fmla="*/ 3968895 h 4101226"/>
              <a:gd name="connsiteX5" fmla="*/ 333965 w 6533426"/>
              <a:gd name="connsiteY5" fmla="*/ 3971566 h 4101226"/>
              <a:gd name="connsiteX6" fmla="*/ 232739 w 6533426"/>
              <a:gd name="connsiteY6" fmla="*/ 3114000 h 4101226"/>
              <a:gd name="connsiteX0" fmla="*/ 232739 w 6507150"/>
              <a:gd name="connsiteY0" fmla="*/ 3114000 h 5929534"/>
              <a:gd name="connsiteX1" fmla="*/ 3346739 w 6507150"/>
              <a:gd name="connsiteY1" fmla="*/ 0 h 5929534"/>
              <a:gd name="connsiteX2" fmla="*/ 6460739 w 6507150"/>
              <a:gd name="connsiteY2" fmla="*/ 3114000 h 5929534"/>
              <a:gd name="connsiteX3" fmla="*/ 4731155 w 6507150"/>
              <a:gd name="connsiteY3" fmla="*/ 5921390 h 5929534"/>
              <a:gd name="connsiteX4" fmla="*/ 4624210 w 6507150"/>
              <a:gd name="connsiteY4" fmla="*/ 3968895 h 5929534"/>
              <a:gd name="connsiteX5" fmla="*/ 333965 w 6507150"/>
              <a:gd name="connsiteY5" fmla="*/ 3971566 h 5929534"/>
              <a:gd name="connsiteX6" fmla="*/ 232739 w 6507150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526554"/>
              <a:gd name="connsiteY0" fmla="*/ 3114000 h 5929534"/>
              <a:gd name="connsiteX1" fmla="*/ 3346739 w 6526554"/>
              <a:gd name="connsiteY1" fmla="*/ 0 h 5929534"/>
              <a:gd name="connsiteX2" fmla="*/ 6460739 w 6526554"/>
              <a:gd name="connsiteY2" fmla="*/ 3114000 h 5929534"/>
              <a:gd name="connsiteX3" fmla="*/ 4731155 w 6526554"/>
              <a:gd name="connsiteY3" fmla="*/ 5921390 h 5929534"/>
              <a:gd name="connsiteX4" fmla="*/ 4624210 w 6526554"/>
              <a:gd name="connsiteY4" fmla="*/ 3968895 h 5929534"/>
              <a:gd name="connsiteX5" fmla="*/ 333965 w 6526554"/>
              <a:gd name="connsiteY5" fmla="*/ 3971566 h 5929534"/>
              <a:gd name="connsiteX6" fmla="*/ 232739 w 6526554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232739 w 6462699"/>
              <a:gd name="connsiteY0" fmla="*/ 3114000 h 5929534"/>
              <a:gd name="connsiteX1" fmla="*/ 3346739 w 6462699"/>
              <a:gd name="connsiteY1" fmla="*/ 0 h 5929534"/>
              <a:gd name="connsiteX2" fmla="*/ 6460739 w 6462699"/>
              <a:gd name="connsiteY2" fmla="*/ 3114000 h 5929534"/>
              <a:gd name="connsiteX3" fmla="*/ 4731155 w 6462699"/>
              <a:gd name="connsiteY3" fmla="*/ 5921390 h 5929534"/>
              <a:gd name="connsiteX4" fmla="*/ 4624210 w 6462699"/>
              <a:gd name="connsiteY4" fmla="*/ 3968895 h 5929534"/>
              <a:gd name="connsiteX5" fmla="*/ 333965 w 6462699"/>
              <a:gd name="connsiteY5" fmla="*/ 3971566 h 5929534"/>
              <a:gd name="connsiteX6" fmla="*/ 232739 w 6462699"/>
              <a:gd name="connsiteY6" fmla="*/ 3114000 h 5929534"/>
              <a:gd name="connsiteX0" fmla="*/ 3162 w 6233122"/>
              <a:gd name="connsiteY0" fmla="*/ 3114000 h 5929534"/>
              <a:gd name="connsiteX1" fmla="*/ 3117162 w 6233122"/>
              <a:gd name="connsiteY1" fmla="*/ 0 h 5929534"/>
              <a:gd name="connsiteX2" fmla="*/ 6231162 w 6233122"/>
              <a:gd name="connsiteY2" fmla="*/ 3114000 h 5929534"/>
              <a:gd name="connsiteX3" fmla="*/ 4501578 w 6233122"/>
              <a:gd name="connsiteY3" fmla="*/ 5921390 h 5929534"/>
              <a:gd name="connsiteX4" fmla="*/ 4394633 w 6233122"/>
              <a:gd name="connsiteY4" fmla="*/ 3968895 h 5929534"/>
              <a:gd name="connsiteX5" fmla="*/ 104388 w 6233122"/>
              <a:gd name="connsiteY5" fmla="*/ 3971566 h 5929534"/>
              <a:gd name="connsiteX6" fmla="*/ 3162 w 6233122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534"/>
              <a:gd name="connsiteX1" fmla="*/ 3119446 w 6235406"/>
              <a:gd name="connsiteY1" fmla="*/ 0 h 5929534"/>
              <a:gd name="connsiteX2" fmla="*/ 6233446 w 6235406"/>
              <a:gd name="connsiteY2" fmla="*/ 3114000 h 5929534"/>
              <a:gd name="connsiteX3" fmla="*/ 4503862 w 6235406"/>
              <a:gd name="connsiteY3" fmla="*/ 5921390 h 5929534"/>
              <a:gd name="connsiteX4" fmla="*/ 4396917 w 6235406"/>
              <a:gd name="connsiteY4" fmla="*/ 3968895 h 5929534"/>
              <a:gd name="connsiteX5" fmla="*/ 106672 w 6235406"/>
              <a:gd name="connsiteY5" fmla="*/ 3971566 h 5929534"/>
              <a:gd name="connsiteX6" fmla="*/ 5446 w 6235406"/>
              <a:gd name="connsiteY6" fmla="*/ 3114000 h 5929534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9650"/>
              <a:gd name="connsiteX1" fmla="*/ 3119446 w 6235406"/>
              <a:gd name="connsiteY1" fmla="*/ 0 h 5929650"/>
              <a:gd name="connsiteX2" fmla="*/ 6233446 w 6235406"/>
              <a:gd name="connsiteY2" fmla="*/ 3114000 h 5929650"/>
              <a:gd name="connsiteX3" fmla="*/ 4503862 w 6235406"/>
              <a:gd name="connsiteY3" fmla="*/ 5921390 h 5929650"/>
              <a:gd name="connsiteX4" fmla="*/ 4396917 w 6235406"/>
              <a:gd name="connsiteY4" fmla="*/ 3968895 h 5929650"/>
              <a:gd name="connsiteX5" fmla="*/ 106672 w 6235406"/>
              <a:gd name="connsiteY5" fmla="*/ 3971566 h 5929650"/>
              <a:gd name="connsiteX6" fmla="*/ 5446 w 6235406"/>
              <a:gd name="connsiteY6" fmla="*/ 3114000 h 592965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21390"/>
              <a:gd name="connsiteX1" fmla="*/ 3119446 w 6235406"/>
              <a:gd name="connsiteY1" fmla="*/ 0 h 5921390"/>
              <a:gd name="connsiteX2" fmla="*/ 6233446 w 6235406"/>
              <a:gd name="connsiteY2" fmla="*/ 3114000 h 5921390"/>
              <a:gd name="connsiteX3" fmla="*/ 4503862 w 6235406"/>
              <a:gd name="connsiteY3" fmla="*/ 5921390 h 5921390"/>
              <a:gd name="connsiteX4" fmla="*/ 4396917 w 6235406"/>
              <a:gd name="connsiteY4" fmla="*/ 3968895 h 5921390"/>
              <a:gd name="connsiteX5" fmla="*/ 106672 w 6235406"/>
              <a:gd name="connsiteY5" fmla="*/ 3971566 h 5921390"/>
              <a:gd name="connsiteX6" fmla="*/ 5446 w 6235406"/>
              <a:gd name="connsiteY6" fmla="*/ 3114000 h 5921390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55038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745"/>
              <a:gd name="connsiteX1" fmla="*/ 3119446 w 6235406"/>
              <a:gd name="connsiteY1" fmla="*/ 0 h 5938745"/>
              <a:gd name="connsiteX2" fmla="*/ 6233446 w 6235406"/>
              <a:gd name="connsiteY2" fmla="*/ 3114000 h 5938745"/>
              <a:gd name="connsiteX3" fmla="*/ 4503862 w 6235406"/>
              <a:gd name="connsiteY3" fmla="*/ 5921390 h 5938745"/>
              <a:gd name="connsiteX4" fmla="*/ 4483173 w 6235406"/>
              <a:gd name="connsiteY4" fmla="*/ 4284366 h 5938745"/>
              <a:gd name="connsiteX5" fmla="*/ 4396917 w 6235406"/>
              <a:gd name="connsiteY5" fmla="*/ 3968895 h 5938745"/>
              <a:gd name="connsiteX6" fmla="*/ 106672 w 6235406"/>
              <a:gd name="connsiteY6" fmla="*/ 3971566 h 5938745"/>
              <a:gd name="connsiteX7" fmla="*/ 5446 w 6235406"/>
              <a:gd name="connsiteY7" fmla="*/ 3114000 h 5938745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38818"/>
              <a:gd name="connsiteX1" fmla="*/ 3119446 w 6235406"/>
              <a:gd name="connsiteY1" fmla="*/ 0 h 5938818"/>
              <a:gd name="connsiteX2" fmla="*/ 6233446 w 6235406"/>
              <a:gd name="connsiteY2" fmla="*/ 3114000 h 5938818"/>
              <a:gd name="connsiteX3" fmla="*/ 4503862 w 6235406"/>
              <a:gd name="connsiteY3" fmla="*/ 5921390 h 5938818"/>
              <a:gd name="connsiteX4" fmla="*/ 4483173 w 6235406"/>
              <a:gd name="connsiteY4" fmla="*/ 4284366 h 5938818"/>
              <a:gd name="connsiteX5" fmla="*/ 4396917 w 6235406"/>
              <a:gd name="connsiteY5" fmla="*/ 3968895 h 5938818"/>
              <a:gd name="connsiteX6" fmla="*/ 106672 w 6235406"/>
              <a:gd name="connsiteY6" fmla="*/ 3971566 h 5938818"/>
              <a:gd name="connsiteX7" fmla="*/ 5446 w 6235406"/>
              <a:gd name="connsiteY7" fmla="*/ 3114000 h 5938818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21941"/>
              <a:gd name="connsiteX1" fmla="*/ 3119446 w 6235406"/>
              <a:gd name="connsiteY1" fmla="*/ 0 h 5921941"/>
              <a:gd name="connsiteX2" fmla="*/ 6233446 w 6235406"/>
              <a:gd name="connsiteY2" fmla="*/ 3114000 h 5921941"/>
              <a:gd name="connsiteX3" fmla="*/ 4490214 w 6235406"/>
              <a:gd name="connsiteY3" fmla="*/ 5904331 h 5921941"/>
              <a:gd name="connsiteX4" fmla="*/ 4483173 w 6235406"/>
              <a:gd name="connsiteY4" fmla="*/ 4284366 h 5921941"/>
              <a:gd name="connsiteX5" fmla="*/ 4396917 w 6235406"/>
              <a:gd name="connsiteY5" fmla="*/ 3968895 h 5921941"/>
              <a:gd name="connsiteX6" fmla="*/ 106672 w 6235406"/>
              <a:gd name="connsiteY6" fmla="*/ 3971566 h 5921941"/>
              <a:gd name="connsiteX7" fmla="*/ 5446 w 6235406"/>
              <a:gd name="connsiteY7" fmla="*/ 3114000 h 592194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3173 w 6235406"/>
              <a:gd name="connsiteY4" fmla="*/ 4284366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37653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5446 w 6235406"/>
              <a:gd name="connsiteY0" fmla="*/ 3114000 h 5904331"/>
              <a:gd name="connsiteX1" fmla="*/ 3119446 w 6235406"/>
              <a:gd name="connsiteY1" fmla="*/ 0 h 5904331"/>
              <a:gd name="connsiteX2" fmla="*/ 6233446 w 6235406"/>
              <a:gd name="connsiteY2" fmla="*/ 3114000 h 5904331"/>
              <a:gd name="connsiteX3" fmla="*/ 4490214 w 6235406"/>
              <a:gd name="connsiteY3" fmla="*/ 5904331 h 5904331"/>
              <a:gd name="connsiteX4" fmla="*/ 4486585 w 6235406"/>
              <a:gd name="connsiteY4" fmla="*/ 4147888 h 5904331"/>
              <a:gd name="connsiteX5" fmla="*/ 4396917 w 6235406"/>
              <a:gd name="connsiteY5" fmla="*/ 3968895 h 5904331"/>
              <a:gd name="connsiteX6" fmla="*/ 106672 w 6235406"/>
              <a:gd name="connsiteY6" fmla="*/ 3971566 h 5904331"/>
              <a:gd name="connsiteX7" fmla="*/ 5446 w 6235406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0811 w 6350771"/>
              <a:gd name="connsiteY0" fmla="*/ 3114000 h 5904331"/>
              <a:gd name="connsiteX1" fmla="*/ 3234811 w 6350771"/>
              <a:gd name="connsiteY1" fmla="*/ 0 h 5904331"/>
              <a:gd name="connsiteX2" fmla="*/ 6348811 w 6350771"/>
              <a:gd name="connsiteY2" fmla="*/ 3114000 h 5904331"/>
              <a:gd name="connsiteX3" fmla="*/ 4605579 w 6350771"/>
              <a:gd name="connsiteY3" fmla="*/ 5904331 h 5904331"/>
              <a:gd name="connsiteX4" fmla="*/ 4601950 w 6350771"/>
              <a:gd name="connsiteY4" fmla="*/ 4147888 h 5904331"/>
              <a:gd name="connsiteX5" fmla="*/ 4512282 w 6350771"/>
              <a:gd name="connsiteY5" fmla="*/ 3968895 h 5904331"/>
              <a:gd name="connsiteX6" fmla="*/ 293688 w 6350771"/>
              <a:gd name="connsiteY6" fmla="*/ 3968154 h 5904331"/>
              <a:gd name="connsiteX7" fmla="*/ 120811 w 6350771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2 w 6229972"/>
              <a:gd name="connsiteY0" fmla="*/ 3114000 h 5904331"/>
              <a:gd name="connsiteX1" fmla="*/ 3114012 w 6229972"/>
              <a:gd name="connsiteY1" fmla="*/ 0 h 5904331"/>
              <a:gd name="connsiteX2" fmla="*/ 6228012 w 6229972"/>
              <a:gd name="connsiteY2" fmla="*/ 3114000 h 5904331"/>
              <a:gd name="connsiteX3" fmla="*/ 4484780 w 6229972"/>
              <a:gd name="connsiteY3" fmla="*/ 5904331 h 5904331"/>
              <a:gd name="connsiteX4" fmla="*/ 4481151 w 6229972"/>
              <a:gd name="connsiteY4" fmla="*/ 4147888 h 5904331"/>
              <a:gd name="connsiteX5" fmla="*/ 4391483 w 6229972"/>
              <a:gd name="connsiteY5" fmla="*/ 3968895 h 5904331"/>
              <a:gd name="connsiteX6" fmla="*/ 172889 w 6229972"/>
              <a:gd name="connsiteY6" fmla="*/ 3968154 h 5904331"/>
              <a:gd name="connsiteX7" fmla="*/ 12 w 6229972"/>
              <a:gd name="connsiteY7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65707 w 6395667"/>
              <a:gd name="connsiteY0" fmla="*/ 3114000 h 5904331"/>
              <a:gd name="connsiteX1" fmla="*/ 3279707 w 6395667"/>
              <a:gd name="connsiteY1" fmla="*/ 0 h 5904331"/>
              <a:gd name="connsiteX2" fmla="*/ 6393707 w 6395667"/>
              <a:gd name="connsiteY2" fmla="*/ 3114000 h 5904331"/>
              <a:gd name="connsiteX3" fmla="*/ 4650475 w 6395667"/>
              <a:gd name="connsiteY3" fmla="*/ 5904331 h 5904331"/>
              <a:gd name="connsiteX4" fmla="*/ 4646846 w 6395667"/>
              <a:gd name="connsiteY4" fmla="*/ 4147888 h 5904331"/>
              <a:gd name="connsiteX5" fmla="*/ 4557178 w 6395667"/>
              <a:gd name="connsiteY5" fmla="*/ 3968895 h 5904331"/>
              <a:gd name="connsiteX6" fmla="*/ 338584 w 6395667"/>
              <a:gd name="connsiteY6" fmla="*/ 3968154 h 5904331"/>
              <a:gd name="connsiteX7" fmla="*/ 418664 w 6395667"/>
              <a:gd name="connsiteY7" fmla="*/ 3789530 h 5904331"/>
              <a:gd name="connsiteX8" fmla="*/ 165707 w 6395667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7804 w 6417764"/>
              <a:gd name="connsiteY0" fmla="*/ 3114000 h 5904331"/>
              <a:gd name="connsiteX1" fmla="*/ 3301804 w 6417764"/>
              <a:gd name="connsiteY1" fmla="*/ 0 h 5904331"/>
              <a:gd name="connsiteX2" fmla="*/ 6415804 w 6417764"/>
              <a:gd name="connsiteY2" fmla="*/ 3114000 h 5904331"/>
              <a:gd name="connsiteX3" fmla="*/ 4672572 w 6417764"/>
              <a:gd name="connsiteY3" fmla="*/ 5904331 h 5904331"/>
              <a:gd name="connsiteX4" fmla="*/ 4668943 w 6417764"/>
              <a:gd name="connsiteY4" fmla="*/ 4147888 h 5904331"/>
              <a:gd name="connsiteX5" fmla="*/ 4579275 w 6417764"/>
              <a:gd name="connsiteY5" fmla="*/ 3968895 h 5904331"/>
              <a:gd name="connsiteX6" fmla="*/ 360681 w 6417764"/>
              <a:gd name="connsiteY6" fmla="*/ 3968154 h 5904331"/>
              <a:gd name="connsiteX7" fmla="*/ 317931 w 6417764"/>
              <a:gd name="connsiteY7" fmla="*/ 3984011 h 5904331"/>
              <a:gd name="connsiteX8" fmla="*/ 187804 w 6417764"/>
              <a:gd name="connsiteY8" fmla="*/ 3114000 h 5904331"/>
              <a:gd name="connsiteX0" fmla="*/ 183019 w 6412979"/>
              <a:gd name="connsiteY0" fmla="*/ 3114000 h 5904331"/>
              <a:gd name="connsiteX1" fmla="*/ 3297019 w 6412979"/>
              <a:gd name="connsiteY1" fmla="*/ 0 h 5904331"/>
              <a:gd name="connsiteX2" fmla="*/ 6411019 w 6412979"/>
              <a:gd name="connsiteY2" fmla="*/ 3114000 h 5904331"/>
              <a:gd name="connsiteX3" fmla="*/ 4667787 w 6412979"/>
              <a:gd name="connsiteY3" fmla="*/ 5904331 h 5904331"/>
              <a:gd name="connsiteX4" fmla="*/ 4664158 w 6412979"/>
              <a:gd name="connsiteY4" fmla="*/ 4147888 h 5904331"/>
              <a:gd name="connsiteX5" fmla="*/ 4574490 w 6412979"/>
              <a:gd name="connsiteY5" fmla="*/ 3968895 h 5904331"/>
              <a:gd name="connsiteX6" fmla="*/ 355896 w 6412979"/>
              <a:gd name="connsiteY6" fmla="*/ 3968154 h 5904331"/>
              <a:gd name="connsiteX7" fmla="*/ 313146 w 6412979"/>
              <a:gd name="connsiteY7" fmla="*/ 3984011 h 5904331"/>
              <a:gd name="connsiteX8" fmla="*/ 183019 w 6412979"/>
              <a:gd name="connsiteY8" fmla="*/ 3114000 h 5904331"/>
              <a:gd name="connsiteX0" fmla="*/ 144151 w 6374111"/>
              <a:gd name="connsiteY0" fmla="*/ 3114000 h 5904331"/>
              <a:gd name="connsiteX1" fmla="*/ 3258151 w 6374111"/>
              <a:gd name="connsiteY1" fmla="*/ 0 h 5904331"/>
              <a:gd name="connsiteX2" fmla="*/ 6372151 w 6374111"/>
              <a:gd name="connsiteY2" fmla="*/ 3114000 h 5904331"/>
              <a:gd name="connsiteX3" fmla="*/ 4628919 w 6374111"/>
              <a:gd name="connsiteY3" fmla="*/ 5904331 h 5904331"/>
              <a:gd name="connsiteX4" fmla="*/ 4625290 w 6374111"/>
              <a:gd name="connsiteY4" fmla="*/ 4147888 h 5904331"/>
              <a:gd name="connsiteX5" fmla="*/ 4535622 w 6374111"/>
              <a:gd name="connsiteY5" fmla="*/ 3968895 h 5904331"/>
              <a:gd name="connsiteX6" fmla="*/ 317028 w 6374111"/>
              <a:gd name="connsiteY6" fmla="*/ 3968154 h 5904331"/>
              <a:gd name="connsiteX7" fmla="*/ 274278 w 6374111"/>
              <a:gd name="connsiteY7" fmla="*/ 3984011 h 5904331"/>
              <a:gd name="connsiteX8" fmla="*/ 144151 w 6374111"/>
              <a:gd name="connsiteY8" fmla="*/ 3114000 h 5904331"/>
              <a:gd name="connsiteX0" fmla="*/ 141340 w 6371300"/>
              <a:gd name="connsiteY0" fmla="*/ 3114000 h 5904331"/>
              <a:gd name="connsiteX1" fmla="*/ 3255340 w 6371300"/>
              <a:gd name="connsiteY1" fmla="*/ 0 h 5904331"/>
              <a:gd name="connsiteX2" fmla="*/ 6369340 w 6371300"/>
              <a:gd name="connsiteY2" fmla="*/ 3114000 h 5904331"/>
              <a:gd name="connsiteX3" fmla="*/ 4626108 w 6371300"/>
              <a:gd name="connsiteY3" fmla="*/ 5904331 h 5904331"/>
              <a:gd name="connsiteX4" fmla="*/ 4622479 w 6371300"/>
              <a:gd name="connsiteY4" fmla="*/ 4147888 h 5904331"/>
              <a:gd name="connsiteX5" fmla="*/ 4532811 w 6371300"/>
              <a:gd name="connsiteY5" fmla="*/ 3968895 h 5904331"/>
              <a:gd name="connsiteX6" fmla="*/ 314217 w 6371300"/>
              <a:gd name="connsiteY6" fmla="*/ 3968154 h 5904331"/>
              <a:gd name="connsiteX7" fmla="*/ 281702 w 6371300"/>
              <a:gd name="connsiteY7" fmla="*/ 3987423 h 5904331"/>
              <a:gd name="connsiteX8" fmla="*/ 141340 w 6371300"/>
              <a:gd name="connsiteY8" fmla="*/ 3114000 h 5904331"/>
              <a:gd name="connsiteX0" fmla="*/ 181 w 6230141"/>
              <a:gd name="connsiteY0" fmla="*/ 3114000 h 5904331"/>
              <a:gd name="connsiteX1" fmla="*/ 3114181 w 6230141"/>
              <a:gd name="connsiteY1" fmla="*/ 0 h 5904331"/>
              <a:gd name="connsiteX2" fmla="*/ 6228181 w 6230141"/>
              <a:gd name="connsiteY2" fmla="*/ 3114000 h 5904331"/>
              <a:gd name="connsiteX3" fmla="*/ 4484949 w 6230141"/>
              <a:gd name="connsiteY3" fmla="*/ 5904331 h 5904331"/>
              <a:gd name="connsiteX4" fmla="*/ 4481320 w 6230141"/>
              <a:gd name="connsiteY4" fmla="*/ 4147888 h 5904331"/>
              <a:gd name="connsiteX5" fmla="*/ 4391652 w 6230141"/>
              <a:gd name="connsiteY5" fmla="*/ 3968895 h 5904331"/>
              <a:gd name="connsiteX6" fmla="*/ 173058 w 6230141"/>
              <a:gd name="connsiteY6" fmla="*/ 3968154 h 5904331"/>
              <a:gd name="connsiteX7" fmla="*/ 140543 w 6230141"/>
              <a:gd name="connsiteY7" fmla="*/ 3987423 h 5904331"/>
              <a:gd name="connsiteX8" fmla="*/ 181 w 6230141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73076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30159"/>
              <a:gd name="connsiteY0" fmla="*/ 3114000 h 5904331"/>
              <a:gd name="connsiteX1" fmla="*/ 3114199 w 6230159"/>
              <a:gd name="connsiteY1" fmla="*/ 0 h 5904331"/>
              <a:gd name="connsiteX2" fmla="*/ 6228199 w 6230159"/>
              <a:gd name="connsiteY2" fmla="*/ 3114000 h 5904331"/>
              <a:gd name="connsiteX3" fmla="*/ 4484967 w 6230159"/>
              <a:gd name="connsiteY3" fmla="*/ 5904331 h 5904331"/>
              <a:gd name="connsiteX4" fmla="*/ 4481338 w 6230159"/>
              <a:gd name="connsiteY4" fmla="*/ 4147888 h 5904331"/>
              <a:gd name="connsiteX5" fmla="*/ 4391670 w 6230159"/>
              <a:gd name="connsiteY5" fmla="*/ 3968895 h 5904331"/>
              <a:gd name="connsiteX6" fmla="*/ 194243 w 6230159"/>
              <a:gd name="connsiteY6" fmla="*/ 3968154 h 5904331"/>
              <a:gd name="connsiteX7" fmla="*/ 126914 w 6230159"/>
              <a:gd name="connsiteY7" fmla="*/ 3990835 h 5904331"/>
              <a:gd name="connsiteX8" fmla="*/ 199 w 6230159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7"/>
              <a:gd name="connsiteY0" fmla="*/ 3114000 h 5904331"/>
              <a:gd name="connsiteX1" fmla="*/ 3114199 w 6228217"/>
              <a:gd name="connsiteY1" fmla="*/ 0 h 5904331"/>
              <a:gd name="connsiteX2" fmla="*/ 6228199 w 6228217"/>
              <a:gd name="connsiteY2" fmla="*/ 3114000 h 5904331"/>
              <a:gd name="connsiteX3" fmla="*/ 4484967 w 6228217"/>
              <a:gd name="connsiteY3" fmla="*/ 5904331 h 5904331"/>
              <a:gd name="connsiteX4" fmla="*/ 4481338 w 6228217"/>
              <a:gd name="connsiteY4" fmla="*/ 4147888 h 5904331"/>
              <a:gd name="connsiteX5" fmla="*/ 4391670 w 6228217"/>
              <a:gd name="connsiteY5" fmla="*/ 3968895 h 5904331"/>
              <a:gd name="connsiteX6" fmla="*/ 194243 w 6228217"/>
              <a:gd name="connsiteY6" fmla="*/ 3968154 h 5904331"/>
              <a:gd name="connsiteX7" fmla="*/ 126914 w 6228217"/>
              <a:gd name="connsiteY7" fmla="*/ 3990835 h 5904331"/>
              <a:gd name="connsiteX8" fmla="*/ 199 w 6228217"/>
              <a:gd name="connsiteY8" fmla="*/ 3114000 h 5904331"/>
              <a:gd name="connsiteX0" fmla="*/ 199 w 6228216"/>
              <a:gd name="connsiteY0" fmla="*/ 3114000 h 5904331"/>
              <a:gd name="connsiteX1" fmla="*/ 3114199 w 6228216"/>
              <a:gd name="connsiteY1" fmla="*/ 0 h 5904331"/>
              <a:gd name="connsiteX2" fmla="*/ 6228199 w 6228216"/>
              <a:gd name="connsiteY2" fmla="*/ 3114000 h 5904331"/>
              <a:gd name="connsiteX3" fmla="*/ 4474456 w 6228216"/>
              <a:gd name="connsiteY3" fmla="*/ 5904331 h 5904331"/>
              <a:gd name="connsiteX4" fmla="*/ 4481338 w 6228216"/>
              <a:gd name="connsiteY4" fmla="*/ 4147888 h 5904331"/>
              <a:gd name="connsiteX5" fmla="*/ 4391670 w 6228216"/>
              <a:gd name="connsiteY5" fmla="*/ 3968895 h 5904331"/>
              <a:gd name="connsiteX6" fmla="*/ 194243 w 6228216"/>
              <a:gd name="connsiteY6" fmla="*/ 3968154 h 5904331"/>
              <a:gd name="connsiteX7" fmla="*/ 126914 w 6228216"/>
              <a:gd name="connsiteY7" fmla="*/ 3990835 h 5904331"/>
              <a:gd name="connsiteX8" fmla="*/ 199 w 6228216"/>
              <a:gd name="connsiteY8" fmla="*/ 3114000 h 5904331"/>
              <a:gd name="connsiteX0" fmla="*/ 199 w 6228216"/>
              <a:gd name="connsiteY0" fmla="*/ 3114000 h 5915833"/>
              <a:gd name="connsiteX1" fmla="*/ 3114199 w 6228216"/>
              <a:gd name="connsiteY1" fmla="*/ 0 h 5915833"/>
              <a:gd name="connsiteX2" fmla="*/ 6228199 w 6228216"/>
              <a:gd name="connsiteY2" fmla="*/ 3114000 h 5915833"/>
              <a:gd name="connsiteX3" fmla="*/ 4480207 w 6228216"/>
              <a:gd name="connsiteY3" fmla="*/ 5915833 h 5915833"/>
              <a:gd name="connsiteX4" fmla="*/ 4481338 w 6228216"/>
              <a:gd name="connsiteY4" fmla="*/ 4147888 h 5915833"/>
              <a:gd name="connsiteX5" fmla="*/ 4391670 w 6228216"/>
              <a:gd name="connsiteY5" fmla="*/ 3968895 h 5915833"/>
              <a:gd name="connsiteX6" fmla="*/ 194243 w 6228216"/>
              <a:gd name="connsiteY6" fmla="*/ 3968154 h 5915833"/>
              <a:gd name="connsiteX7" fmla="*/ 126914 w 6228216"/>
              <a:gd name="connsiteY7" fmla="*/ 3990835 h 5915833"/>
              <a:gd name="connsiteX8" fmla="*/ 199 w 6228216"/>
              <a:gd name="connsiteY8" fmla="*/ 3114000 h 5915833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80207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6649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7664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94439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27335"/>
              <a:gd name="connsiteX1" fmla="*/ 3114199 w 6228217"/>
              <a:gd name="connsiteY1" fmla="*/ 0 h 5927335"/>
              <a:gd name="connsiteX2" fmla="*/ 6228199 w 6228217"/>
              <a:gd name="connsiteY2" fmla="*/ 3114000 h 5927335"/>
              <a:gd name="connsiteX3" fmla="*/ 4480207 w 6228217"/>
              <a:gd name="connsiteY3" fmla="*/ 5927335 h 5927335"/>
              <a:gd name="connsiteX4" fmla="*/ 4481338 w 6228217"/>
              <a:gd name="connsiteY4" fmla="*/ 4147888 h 5927335"/>
              <a:gd name="connsiteX5" fmla="*/ 4391670 w 6228217"/>
              <a:gd name="connsiteY5" fmla="*/ 3968895 h 5927335"/>
              <a:gd name="connsiteX6" fmla="*/ 194243 w 6228217"/>
              <a:gd name="connsiteY6" fmla="*/ 3968154 h 5927335"/>
              <a:gd name="connsiteX7" fmla="*/ 126914 w 6228217"/>
              <a:gd name="connsiteY7" fmla="*/ 3990835 h 5927335"/>
              <a:gd name="connsiteX8" fmla="*/ 199 w 6228217"/>
              <a:gd name="connsiteY8" fmla="*/ 3114000 h 5927335"/>
              <a:gd name="connsiteX0" fmla="*/ 199 w 6228217"/>
              <a:gd name="connsiteY0" fmla="*/ 3114000 h 5952241"/>
              <a:gd name="connsiteX1" fmla="*/ 3114199 w 6228217"/>
              <a:gd name="connsiteY1" fmla="*/ 0 h 5952241"/>
              <a:gd name="connsiteX2" fmla="*/ 6228199 w 6228217"/>
              <a:gd name="connsiteY2" fmla="*/ 3114000 h 5952241"/>
              <a:gd name="connsiteX3" fmla="*/ 4476649 w 6228217"/>
              <a:gd name="connsiteY3" fmla="*/ 5952241 h 5952241"/>
              <a:gd name="connsiteX4" fmla="*/ 4481338 w 6228217"/>
              <a:gd name="connsiteY4" fmla="*/ 4147888 h 5952241"/>
              <a:gd name="connsiteX5" fmla="*/ 4391670 w 6228217"/>
              <a:gd name="connsiteY5" fmla="*/ 3968895 h 5952241"/>
              <a:gd name="connsiteX6" fmla="*/ 194243 w 6228217"/>
              <a:gd name="connsiteY6" fmla="*/ 3968154 h 5952241"/>
              <a:gd name="connsiteX7" fmla="*/ 126914 w 6228217"/>
              <a:gd name="connsiteY7" fmla="*/ 3990835 h 5952241"/>
              <a:gd name="connsiteX8" fmla="*/ 199 w 6228217"/>
              <a:gd name="connsiteY8" fmla="*/ 3114000 h 5952241"/>
              <a:gd name="connsiteX0" fmla="*/ 199 w 6228216"/>
              <a:gd name="connsiteY0" fmla="*/ 3114000 h 5977146"/>
              <a:gd name="connsiteX1" fmla="*/ 3114199 w 6228216"/>
              <a:gd name="connsiteY1" fmla="*/ 0 h 5977146"/>
              <a:gd name="connsiteX2" fmla="*/ 6228199 w 6228216"/>
              <a:gd name="connsiteY2" fmla="*/ 3114000 h 5977146"/>
              <a:gd name="connsiteX3" fmla="*/ 4469533 w 6228216"/>
              <a:gd name="connsiteY3" fmla="*/ 5977146 h 5977146"/>
              <a:gd name="connsiteX4" fmla="*/ 4481338 w 6228216"/>
              <a:gd name="connsiteY4" fmla="*/ 4147888 h 5977146"/>
              <a:gd name="connsiteX5" fmla="*/ 4391670 w 6228216"/>
              <a:gd name="connsiteY5" fmla="*/ 3968895 h 5977146"/>
              <a:gd name="connsiteX6" fmla="*/ 194243 w 6228216"/>
              <a:gd name="connsiteY6" fmla="*/ 3968154 h 5977146"/>
              <a:gd name="connsiteX7" fmla="*/ 126914 w 6228216"/>
              <a:gd name="connsiteY7" fmla="*/ 3990835 h 5977146"/>
              <a:gd name="connsiteX8" fmla="*/ 199 w 6228216"/>
              <a:gd name="connsiteY8" fmla="*/ 3114000 h 5977146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6"/>
              <a:gd name="connsiteY0" fmla="*/ 3114000 h 5927335"/>
              <a:gd name="connsiteX1" fmla="*/ 3114199 w 6228216"/>
              <a:gd name="connsiteY1" fmla="*/ 0 h 5927335"/>
              <a:gd name="connsiteX2" fmla="*/ 6228199 w 6228216"/>
              <a:gd name="connsiteY2" fmla="*/ 3114000 h 5927335"/>
              <a:gd name="connsiteX3" fmla="*/ 4473091 w 6228216"/>
              <a:gd name="connsiteY3" fmla="*/ 5927335 h 5927335"/>
              <a:gd name="connsiteX4" fmla="*/ 4481338 w 6228216"/>
              <a:gd name="connsiteY4" fmla="*/ 4147888 h 5927335"/>
              <a:gd name="connsiteX5" fmla="*/ 4391670 w 6228216"/>
              <a:gd name="connsiteY5" fmla="*/ 3968895 h 5927335"/>
              <a:gd name="connsiteX6" fmla="*/ 194243 w 6228216"/>
              <a:gd name="connsiteY6" fmla="*/ 3968154 h 5927335"/>
              <a:gd name="connsiteX7" fmla="*/ 126914 w 6228216"/>
              <a:gd name="connsiteY7" fmla="*/ 3990835 h 5927335"/>
              <a:gd name="connsiteX8" fmla="*/ 199 w 6228216"/>
              <a:gd name="connsiteY8" fmla="*/ 3114000 h 5927335"/>
              <a:gd name="connsiteX0" fmla="*/ 199 w 6228215"/>
              <a:gd name="connsiteY0" fmla="*/ 3114000 h 5927335"/>
              <a:gd name="connsiteX1" fmla="*/ 3114199 w 6228215"/>
              <a:gd name="connsiteY1" fmla="*/ 0 h 5927335"/>
              <a:gd name="connsiteX2" fmla="*/ 6228199 w 6228215"/>
              <a:gd name="connsiteY2" fmla="*/ 3114000 h 5927335"/>
              <a:gd name="connsiteX3" fmla="*/ 4473091 w 6228215"/>
              <a:gd name="connsiteY3" fmla="*/ 5927335 h 5927335"/>
              <a:gd name="connsiteX4" fmla="*/ 4481338 w 6228215"/>
              <a:gd name="connsiteY4" fmla="*/ 4147888 h 5927335"/>
              <a:gd name="connsiteX5" fmla="*/ 4391670 w 6228215"/>
              <a:gd name="connsiteY5" fmla="*/ 3968895 h 5927335"/>
              <a:gd name="connsiteX6" fmla="*/ 194243 w 6228215"/>
              <a:gd name="connsiteY6" fmla="*/ 3968154 h 5927335"/>
              <a:gd name="connsiteX7" fmla="*/ 126914 w 6228215"/>
              <a:gd name="connsiteY7" fmla="*/ 3990835 h 5927335"/>
              <a:gd name="connsiteX8" fmla="*/ 199 w 6228215"/>
              <a:gd name="connsiteY8" fmla="*/ 3114000 h 5927335"/>
              <a:gd name="connsiteX0" fmla="*/ 199 w 6228216"/>
              <a:gd name="connsiteY0" fmla="*/ 3114000 h 5911748"/>
              <a:gd name="connsiteX1" fmla="*/ 3114199 w 6228216"/>
              <a:gd name="connsiteY1" fmla="*/ 0 h 5911748"/>
              <a:gd name="connsiteX2" fmla="*/ 6228199 w 6228216"/>
              <a:gd name="connsiteY2" fmla="*/ 3114000 h 5911748"/>
              <a:gd name="connsiteX3" fmla="*/ 4483482 w 6228216"/>
              <a:gd name="connsiteY3" fmla="*/ 5911748 h 5911748"/>
              <a:gd name="connsiteX4" fmla="*/ 4481338 w 6228216"/>
              <a:gd name="connsiteY4" fmla="*/ 4147888 h 5911748"/>
              <a:gd name="connsiteX5" fmla="*/ 4391670 w 6228216"/>
              <a:gd name="connsiteY5" fmla="*/ 3968895 h 5911748"/>
              <a:gd name="connsiteX6" fmla="*/ 194243 w 6228216"/>
              <a:gd name="connsiteY6" fmla="*/ 3968154 h 5911748"/>
              <a:gd name="connsiteX7" fmla="*/ 126914 w 6228216"/>
              <a:gd name="connsiteY7" fmla="*/ 3990835 h 5911748"/>
              <a:gd name="connsiteX8" fmla="*/ 199 w 6228216"/>
              <a:gd name="connsiteY8" fmla="*/ 3114000 h 5911748"/>
              <a:gd name="connsiteX0" fmla="*/ 199 w 6228216"/>
              <a:gd name="connsiteY0" fmla="*/ 3114000 h 5896162"/>
              <a:gd name="connsiteX1" fmla="*/ 3114199 w 6228216"/>
              <a:gd name="connsiteY1" fmla="*/ 0 h 5896162"/>
              <a:gd name="connsiteX2" fmla="*/ 6228199 w 6228216"/>
              <a:gd name="connsiteY2" fmla="*/ 3114000 h 5896162"/>
              <a:gd name="connsiteX3" fmla="*/ 4483482 w 6228216"/>
              <a:gd name="connsiteY3" fmla="*/ 5896162 h 5896162"/>
              <a:gd name="connsiteX4" fmla="*/ 4481338 w 6228216"/>
              <a:gd name="connsiteY4" fmla="*/ 4147888 h 5896162"/>
              <a:gd name="connsiteX5" fmla="*/ 4391670 w 6228216"/>
              <a:gd name="connsiteY5" fmla="*/ 3968895 h 5896162"/>
              <a:gd name="connsiteX6" fmla="*/ 194243 w 6228216"/>
              <a:gd name="connsiteY6" fmla="*/ 3968154 h 5896162"/>
              <a:gd name="connsiteX7" fmla="*/ 126914 w 6228216"/>
              <a:gd name="connsiteY7" fmla="*/ 3990835 h 5896162"/>
              <a:gd name="connsiteX8" fmla="*/ 199 w 6228216"/>
              <a:gd name="connsiteY8" fmla="*/ 3114000 h 5896162"/>
              <a:gd name="connsiteX0" fmla="*/ 199 w 6228216"/>
              <a:gd name="connsiteY0" fmla="*/ 3114000 h 5880575"/>
              <a:gd name="connsiteX1" fmla="*/ 3114199 w 6228216"/>
              <a:gd name="connsiteY1" fmla="*/ 0 h 5880575"/>
              <a:gd name="connsiteX2" fmla="*/ 6228199 w 6228216"/>
              <a:gd name="connsiteY2" fmla="*/ 3114000 h 5880575"/>
              <a:gd name="connsiteX3" fmla="*/ 4488677 w 6228216"/>
              <a:gd name="connsiteY3" fmla="*/ 5880575 h 5880575"/>
              <a:gd name="connsiteX4" fmla="*/ 4481338 w 6228216"/>
              <a:gd name="connsiteY4" fmla="*/ 4147888 h 5880575"/>
              <a:gd name="connsiteX5" fmla="*/ 4391670 w 6228216"/>
              <a:gd name="connsiteY5" fmla="*/ 3968895 h 5880575"/>
              <a:gd name="connsiteX6" fmla="*/ 194243 w 6228216"/>
              <a:gd name="connsiteY6" fmla="*/ 3968154 h 5880575"/>
              <a:gd name="connsiteX7" fmla="*/ 126914 w 6228216"/>
              <a:gd name="connsiteY7" fmla="*/ 3990835 h 5880575"/>
              <a:gd name="connsiteX8" fmla="*/ 199 w 6228216"/>
              <a:gd name="connsiteY8" fmla="*/ 3114000 h 5880575"/>
              <a:gd name="connsiteX0" fmla="*/ 199 w 6228216"/>
              <a:gd name="connsiteY0" fmla="*/ 3114000 h 5890966"/>
              <a:gd name="connsiteX1" fmla="*/ 3114199 w 6228216"/>
              <a:gd name="connsiteY1" fmla="*/ 0 h 5890966"/>
              <a:gd name="connsiteX2" fmla="*/ 6228199 w 6228216"/>
              <a:gd name="connsiteY2" fmla="*/ 3114000 h 5890966"/>
              <a:gd name="connsiteX3" fmla="*/ 4483481 w 6228216"/>
              <a:gd name="connsiteY3" fmla="*/ 5890966 h 5890966"/>
              <a:gd name="connsiteX4" fmla="*/ 4481338 w 6228216"/>
              <a:gd name="connsiteY4" fmla="*/ 4147888 h 5890966"/>
              <a:gd name="connsiteX5" fmla="*/ 4391670 w 6228216"/>
              <a:gd name="connsiteY5" fmla="*/ 3968895 h 5890966"/>
              <a:gd name="connsiteX6" fmla="*/ 194243 w 6228216"/>
              <a:gd name="connsiteY6" fmla="*/ 3968154 h 5890966"/>
              <a:gd name="connsiteX7" fmla="*/ 126914 w 6228216"/>
              <a:gd name="connsiteY7" fmla="*/ 3990835 h 5890966"/>
              <a:gd name="connsiteX8" fmla="*/ 199 w 6228216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4251 w 6228224"/>
              <a:gd name="connsiteY6" fmla="*/ 3968154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91678 w 6228224"/>
              <a:gd name="connsiteY5" fmla="*/ 3968895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199447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13232 w 6228224"/>
              <a:gd name="connsiteY6" fmla="*/ 394737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70053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07 w 6228224"/>
              <a:gd name="connsiteY0" fmla="*/ 3114000 h 5890966"/>
              <a:gd name="connsiteX1" fmla="*/ 3114207 w 6228224"/>
              <a:gd name="connsiteY1" fmla="*/ 0 h 5890966"/>
              <a:gd name="connsiteX2" fmla="*/ 6228207 w 6228224"/>
              <a:gd name="connsiteY2" fmla="*/ 3114000 h 5890966"/>
              <a:gd name="connsiteX3" fmla="*/ 4483489 w 6228224"/>
              <a:gd name="connsiteY3" fmla="*/ 5890966 h 5890966"/>
              <a:gd name="connsiteX4" fmla="*/ 4481346 w 6228224"/>
              <a:gd name="connsiteY4" fmla="*/ 4147888 h 5890966"/>
              <a:gd name="connsiteX5" fmla="*/ 4370896 w 6228224"/>
              <a:gd name="connsiteY5" fmla="*/ 3953309 h 5890966"/>
              <a:gd name="connsiteX6" fmla="*/ 227017 w 6228224"/>
              <a:gd name="connsiteY6" fmla="*/ 3938182 h 5890966"/>
              <a:gd name="connsiteX7" fmla="*/ 121726 w 6228224"/>
              <a:gd name="connsiteY7" fmla="*/ 3965458 h 5890966"/>
              <a:gd name="connsiteX8" fmla="*/ 207 w 6228224"/>
              <a:gd name="connsiteY8" fmla="*/ 3114000 h 5890966"/>
              <a:gd name="connsiteX0" fmla="*/ 214 w 6228231"/>
              <a:gd name="connsiteY0" fmla="*/ 3114000 h 5890966"/>
              <a:gd name="connsiteX1" fmla="*/ 3114214 w 6228231"/>
              <a:gd name="connsiteY1" fmla="*/ 0 h 5890966"/>
              <a:gd name="connsiteX2" fmla="*/ 6228214 w 6228231"/>
              <a:gd name="connsiteY2" fmla="*/ 3114000 h 5890966"/>
              <a:gd name="connsiteX3" fmla="*/ 4483496 w 6228231"/>
              <a:gd name="connsiteY3" fmla="*/ 5890966 h 5890966"/>
              <a:gd name="connsiteX4" fmla="*/ 4481353 w 6228231"/>
              <a:gd name="connsiteY4" fmla="*/ 4147888 h 5890966"/>
              <a:gd name="connsiteX5" fmla="*/ 4370903 w 6228231"/>
              <a:gd name="connsiteY5" fmla="*/ 3953309 h 5890966"/>
              <a:gd name="connsiteX6" fmla="*/ 227024 w 6228231"/>
              <a:gd name="connsiteY6" fmla="*/ 3938182 h 5890966"/>
              <a:gd name="connsiteX7" fmla="*/ 117138 w 6228231"/>
              <a:gd name="connsiteY7" fmla="*/ 3956268 h 5890966"/>
              <a:gd name="connsiteX8" fmla="*/ 214 w 6228231"/>
              <a:gd name="connsiteY8" fmla="*/ 3114000 h 5890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28231" h="5890966">
                <a:moveTo>
                  <a:pt x="214" y="3114000"/>
                </a:moveTo>
                <a:cubicBezTo>
                  <a:pt x="-4330" y="1411998"/>
                  <a:pt x="1394399" y="0"/>
                  <a:pt x="3114214" y="0"/>
                </a:cubicBezTo>
                <a:cubicBezTo>
                  <a:pt x="4834029" y="0"/>
                  <a:pt x="6228009" y="1324528"/>
                  <a:pt x="6228214" y="3114000"/>
                </a:cubicBezTo>
                <a:cubicBezTo>
                  <a:pt x="6232591" y="4448745"/>
                  <a:pt x="5391347" y="5466913"/>
                  <a:pt x="4483496" y="5890966"/>
                </a:cubicBezTo>
                <a:cubicBezTo>
                  <a:pt x="4470286" y="5884723"/>
                  <a:pt x="4490830" y="4173263"/>
                  <a:pt x="4481353" y="4147888"/>
                </a:cubicBezTo>
                <a:cubicBezTo>
                  <a:pt x="4476337" y="4153536"/>
                  <a:pt x="4500847" y="3989338"/>
                  <a:pt x="4370903" y="3953309"/>
                </a:cubicBezTo>
                <a:lnTo>
                  <a:pt x="227024" y="3938182"/>
                </a:lnTo>
                <a:cubicBezTo>
                  <a:pt x="229896" y="3935584"/>
                  <a:pt x="121453" y="3950046"/>
                  <a:pt x="117138" y="3956268"/>
                </a:cubicBezTo>
                <a:cubicBezTo>
                  <a:pt x="115621" y="3943562"/>
                  <a:pt x="-5779" y="3527224"/>
                  <a:pt x="214" y="3114000"/>
                </a:cubicBezTo>
                <a:close/>
              </a:path>
            </a:pathLst>
          </a:custGeom>
        </p:spPr>
        <p:txBody>
          <a:bodyPr/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endParaRPr lang="pt-BR"/>
          </a:p>
          <a:p>
            <a:r>
              <a:rPr lang="pt-BR"/>
              <a:t>Imagem</a:t>
            </a:r>
            <a:br>
              <a:rPr lang="pt-BR"/>
            </a:br>
            <a:r>
              <a:rPr lang="pt-BR"/>
              <a:t>(opcional)</a:t>
            </a:r>
          </a:p>
        </p:txBody>
      </p:sp>
      <p:sp>
        <p:nvSpPr>
          <p:cNvPr id="45" name="Espaço Reservado para Texto 44">
            <a:extLst>
              <a:ext uri="{FF2B5EF4-FFF2-40B4-BE49-F238E27FC236}">
                <a16:creationId xmlns:a16="http://schemas.microsoft.com/office/drawing/2014/main" id="{06E30179-074A-9B58-6298-4663401723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38366" y="1329766"/>
            <a:ext cx="3385184" cy="1534684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lang="pt-BR" sz="1200" b="0" i="0" u="none" strike="noStrike" kern="1200" cap="none" dirty="0" smtClean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Freeform: Shape 24">
            <a:extLst>
              <a:ext uri="{FF2B5EF4-FFF2-40B4-BE49-F238E27FC236}">
                <a16:creationId xmlns:a16="http://schemas.microsoft.com/office/drawing/2014/main" id="{FD415740-21AF-903C-1A5A-37F7E5CC6A3C}"/>
              </a:ext>
            </a:extLst>
          </p:cNvPr>
          <p:cNvSpPr/>
          <p:nvPr userDrawn="1"/>
        </p:nvSpPr>
        <p:spPr>
          <a:xfrm>
            <a:off x="2" y="3886414"/>
            <a:ext cx="2848573" cy="2965721"/>
          </a:xfrm>
          <a:custGeom>
            <a:avLst/>
            <a:gdLst>
              <a:gd name="connsiteX0" fmla="*/ 1162912 w 2848573"/>
              <a:gd name="connsiteY0" fmla="*/ 0 h 2965721"/>
              <a:gd name="connsiteX1" fmla="*/ 2848573 w 2848573"/>
              <a:gd name="connsiteY1" fmla="*/ 1685661 h 2965721"/>
              <a:gd name="connsiteX2" fmla="*/ 2354855 w 2848573"/>
              <a:gd name="connsiteY2" fmla="*/ 2877604 h 2965721"/>
              <a:gd name="connsiteX3" fmla="*/ 2257901 w 2848573"/>
              <a:gd name="connsiteY3" fmla="*/ 2965721 h 2965721"/>
              <a:gd name="connsiteX4" fmla="*/ 67924 w 2848573"/>
              <a:gd name="connsiteY4" fmla="*/ 2965721 h 2965721"/>
              <a:gd name="connsiteX5" fmla="*/ 0 w 2848573"/>
              <a:gd name="connsiteY5" fmla="*/ 2903988 h 2965721"/>
              <a:gd name="connsiteX6" fmla="*/ 0 w 2848573"/>
              <a:gd name="connsiteY6" fmla="*/ 467334 h 2965721"/>
              <a:gd name="connsiteX7" fmla="*/ 90675 w 2848573"/>
              <a:gd name="connsiteY7" fmla="*/ 384923 h 2965721"/>
              <a:gd name="connsiteX8" fmla="*/ 1162912 w 2848573"/>
              <a:gd name="connsiteY8" fmla="*/ 0 h 296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48573" h="2965721">
                <a:moveTo>
                  <a:pt x="1162912" y="0"/>
                </a:moveTo>
                <a:cubicBezTo>
                  <a:pt x="2093877" y="0"/>
                  <a:pt x="2848573" y="754696"/>
                  <a:pt x="2848573" y="1685661"/>
                </a:cubicBezTo>
                <a:cubicBezTo>
                  <a:pt x="2848573" y="2151144"/>
                  <a:pt x="2659899" y="2572559"/>
                  <a:pt x="2354855" y="2877604"/>
                </a:cubicBezTo>
                <a:lnTo>
                  <a:pt x="2257901" y="2965721"/>
                </a:lnTo>
                <a:lnTo>
                  <a:pt x="67924" y="2965721"/>
                </a:lnTo>
                <a:lnTo>
                  <a:pt x="0" y="2903988"/>
                </a:lnTo>
                <a:lnTo>
                  <a:pt x="0" y="467334"/>
                </a:lnTo>
                <a:lnTo>
                  <a:pt x="90675" y="384923"/>
                </a:lnTo>
                <a:cubicBezTo>
                  <a:pt x="382057" y="144454"/>
                  <a:pt x="755615" y="0"/>
                  <a:pt x="1162912" y="0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8" name="Espaço Reservado para Imagem 27">
            <a:extLst>
              <a:ext uri="{FF2B5EF4-FFF2-40B4-BE49-F238E27FC236}">
                <a16:creationId xmlns:a16="http://schemas.microsoft.com/office/drawing/2014/main" id="{548B2331-2676-10C2-7E01-D10F6FB4AAA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81687" y="995363"/>
            <a:ext cx="793750" cy="793750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38" name="Título">
            <a:extLst>
              <a:ext uri="{FF2B5EF4-FFF2-40B4-BE49-F238E27FC236}">
                <a16:creationId xmlns:a16="http://schemas.microsoft.com/office/drawing/2014/main" id="{ADB15B2B-2001-9E64-8B66-5FAC0E2E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3244" y="1270707"/>
            <a:ext cx="4158456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0" name="Espaço Reservado para Texto 39">
            <a:extLst>
              <a:ext uri="{FF2B5EF4-FFF2-40B4-BE49-F238E27FC236}">
                <a16:creationId xmlns:a16="http://schemas.microsoft.com/office/drawing/2014/main" id="{A1760A25-CD4E-1960-08EE-258535BF93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23244" y="926629"/>
            <a:ext cx="4180096" cy="323211"/>
          </a:xfrm>
        </p:spPr>
        <p:txBody>
          <a:bodyPr lIns="126000">
            <a:noAutofit/>
          </a:bodyPr>
          <a:lstStyle>
            <a:lvl1pPr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8" name="Rectangle: Rounded Corners 9">
            <a:extLst>
              <a:ext uri="{FF2B5EF4-FFF2-40B4-BE49-F238E27FC236}">
                <a16:creationId xmlns:a16="http://schemas.microsoft.com/office/drawing/2014/main" id="{19FBD3DF-538E-7884-58FD-04DC57DB7E80}"/>
              </a:ext>
            </a:extLst>
          </p:cNvPr>
          <p:cNvSpPr/>
          <p:nvPr userDrawn="1"/>
        </p:nvSpPr>
        <p:spPr>
          <a:xfrm>
            <a:off x="1568450" y="3571620"/>
            <a:ext cx="4434893" cy="2405063"/>
          </a:xfrm>
          <a:prstGeom prst="roundRect">
            <a:avLst>
              <a:gd name="adj" fmla="val 6259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9" name="Rectangle: Rounded Corners 10">
            <a:extLst>
              <a:ext uri="{FF2B5EF4-FFF2-40B4-BE49-F238E27FC236}">
                <a16:creationId xmlns:a16="http://schemas.microsoft.com/office/drawing/2014/main" id="{AE95629A-85FB-D0D9-6F6F-A142203545A5}"/>
              </a:ext>
            </a:extLst>
          </p:cNvPr>
          <p:cNvSpPr/>
          <p:nvPr userDrawn="1"/>
        </p:nvSpPr>
        <p:spPr>
          <a:xfrm>
            <a:off x="6222183" y="3545643"/>
            <a:ext cx="4435200" cy="2431040"/>
          </a:xfrm>
          <a:custGeom>
            <a:avLst/>
            <a:gdLst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84667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79472 w 4435200"/>
              <a:gd name="connsiteY2" fmla="*/ 0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53494 w 4435200"/>
              <a:gd name="connsiteY2" fmla="*/ 10391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295058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0533 h 2405063"/>
              <a:gd name="connsiteX1" fmla="*/ 150533 w 4435200"/>
              <a:gd name="connsiteY1" fmla="*/ 0 h 2405063"/>
              <a:gd name="connsiteX2" fmla="*/ 4315839 w 4435200"/>
              <a:gd name="connsiteY2" fmla="*/ 5195 h 2405063"/>
              <a:gd name="connsiteX3" fmla="*/ 4435200 w 4435200"/>
              <a:gd name="connsiteY3" fmla="*/ 150533 h 2405063"/>
              <a:gd name="connsiteX4" fmla="*/ 4435200 w 4435200"/>
              <a:gd name="connsiteY4" fmla="*/ 2254530 h 2405063"/>
              <a:gd name="connsiteX5" fmla="*/ 4284667 w 4435200"/>
              <a:gd name="connsiteY5" fmla="*/ 2405063 h 2405063"/>
              <a:gd name="connsiteX6" fmla="*/ 150533 w 4435200"/>
              <a:gd name="connsiteY6" fmla="*/ 2405063 h 2405063"/>
              <a:gd name="connsiteX7" fmla="*/ 0 w 4435200"/>
              <a:gd name="connsiteY7" fmla="*/ 2254530 h 2405063"/>
              <a:gd name="connsiteX8" fmla="*/ 0 w 4435200"/>
              <a:gd name="connsiteY8" fmla="*/ 150533 h 2405063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10391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55729 h 2410259"/>
              <a:gd name="connsiteX1" fmla="*/ 150533 w 4435200"/>
              <a:gd name="connsiteY1" fmla="*/ 0 h 2410259"/>
              <a:gd name="connsiteX2" fmla="*/ 4315839 w 4435200"/>
              <a:gd name="connsiteY2" fmla="*/ 5196 h 2410259"/>
              <a:gd name="connsiteX3" fmla="*/ 4435200 w 4435200"/>
              <a:gd name="connsiteY3" fmla="*/ 155729 h 2410259"/>
              <a:gd name="connsiteX4" fmla="*/ 4435200 w 4435200"/>
              <a:gd name="connsiteY4" fmla="*/ 2259726 h 2410259"/>
              <a:gd name="connsiteX5" fmla="*/ 4284667 w 4435200"/>
              <a:gd name="connsiteY5" fmla="*/ 2410259 h 2410259"/>
              <a:gd name="connsiteX6" fmla="*/ 150533 w 4435200"/>
              <a:gd name="connsiteY6" fmla="*/ 2410259 h 2410259"/>
              <a:gd name="connsiteX7" fmla="*/ 0 w 4435200"/>
              <a:gd name="connsiteY7" fmla="*/ 2259726 h 2410259"/>
              <a:gd name="connsiteX8" fmla="*/ 0 w 4435200"/>
              <a:gd name="connsiteY8" fmla="*/ 155729 h 2410259"/>
              <a:gd name="connsiteX0" fmla="*/ 0 w 4435200"/>
              <a:gd name="connsiteY0" fmla="*/ 160924 h 2415454"/>
              <a:gd name="connsiteX1" fmla="*/ 150533 w 4435200"/>
              <a:gd name="connsiteY1" fmla="*/ 5195 h 2415454"/>
              <a:gd name="connsiteX2" fmla="*/ 4321035 w 4435200"/>
              <a:gd name="connsiteY2" fmla="*/ 0 h 2415454"/>
              <a:gd name="connsiteX3" fmla="*/ 4435200 w 4435200"/>
              <a:gd name="connsiteY3" fmla="*/ 160924 h 2415454"/>
              <a:gd name="connsiteX4" fmla="*/ 4435200 w 4435200"/>
              <a:gd name="connsiteY4" fmla="*/ 2264921 h 2415454"/>
              <a:gd name="connsiteX5" fmla="*/ 4284667 w 4435200"/>
              <a:gd name="connsiteY5" fmla="*/ 2415454 h 2415454"/>
              <a:gd name="connsiteX6" fmla="*/ 150533 w 4435200"/>
              <a:gd name="connsiteY6" fmla="*/ 2415454 h 2415454"/>
              <a:gd name="connsiteX7" fmla="*/ 0 w 4435200"/>
              <a:gd name="connsiteY7" fmla="*/ 2264921 h 2415454"/>
              <a:gd name="connsiteX8" fmla="*/ 0 w 4435200"/>
              <a:gd name="connsiteY8" fmla="*/ 160924 h 2415454"/>
              <a:gd name="connsiteX0" fmla="*/ 0 w 4435200"/>
              <a:gd name="connsiteY0" fmla="*/ 176510 h 2431040"/>
              <a:gd name="connsiteX1" fmla="*/ 155729 w 4435200"/>
              <a:gd name="connsiteY1" fmla="*/ 0 h 2431040"/>
              <a:gd name="connsiteX2" fmla="*/ 4321035 w 4435200"/>
              <a:gd name="connsiteY2" fmla="*/ 15586 h 2431040"/>
              <a:gd name="connsiteX3" fmla="*/ 4435200 w 4435200"/>
              <a:gd name="connsiteY3" fmla="*/ 176510 h 2431040"/>
              <a:gd name="connsiteX4" fmla="*/ 4435200 w 4435200"/>
              <a:gd name="connsiteY4" fmla="*/ 2280507 h 2431040"/>
              <a:gd name="connsiteX5" fmla="*/ 4284667 w 4435200"/>
              <a:gd name="connsiteY5" fmla="*/ 2431040 h 2431040"/>
              <a:gd name="connsiteX6" fmla="*/ 150533 w 4435200"/>
              <a:gd name="connsiteY6" fmla="*/ 2431040 h 2431040"/>
              <a:gd name="connsiteX7" fmla="*/ 0 w 4435200"/>
              <a:gd name="connsiteY7" fmla="*/ 2280507 h 2431040"/>
              <a:gd name="connsiteX8" fmla="*/ 0 w 4435200"/>
              <a:gd name="connsiteY8" fmla="*/ 176510 h 243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5200" h="2431040">
                <a:moveTo>
                  <a:pt x="0" y="176510"/>
                </a:moveTo>
                <a:cubicBezTo>
                  <a:pt x="0" y="93373"/>
                  <a:pt x="72592" y="0"/>
                  <a:pt x="155729" y="0"/>
                </a:cubicBezTo>
                <a:lnTo>
                  <a:pt x="4321035" y="15586"/>
                </a:lnTo>
                <a:cubicBezTo>
                  <a:pt x="4404172" y="15586"/>
                  <a:pt x="4435200" y="93373"/>
                  <a:pt x="4435200" y="176510"/>
                </a:cubicBezTo>
                <a:lnTo>
                  <a:pt x="4435200" y="2280507"/>
                </a:lnTo>
                <a:cubicBezTo>
                  <a:pt x="4435200" y="2363644"/>
                  <a:pt x="4367804" y="2431040"/>
                  <a:pt x="4284667" y="2431040"/>
                </a:cubicBezTo>
                <a:lnTo>
                  <a:pt x="150533" y="2431040"/>
                </a:lnTo>
                <a:cubicBezTo>
                  <a:pt x="67396" y="2431040"/>
                  <a:pt x="0" y="2363644"/>
                  <a:pt x="0" y="2280507"/>
                </a:cubicBezTo>
                <a:lnTo>
                  <a:pt x="0" y="1765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25" name="Espaço Reservado para Texto 24">
            <a:extLst>
              <a:ext uri="{FF2B5EF4-FFF2-40B4-BE49-F238E27FC236}">
                <a16:creationId xmlns:a16="http://schemas.microsoft.com/office/drawing/2014/main" id="{F23AF8C6-F807-A43D-E470-FC73BC02A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338" y="2698751"/>
            <a:ext cx="1949844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0" name="Espaço Reservado para Texto 29">
            <a:extLst>
              <a:ext uri="{FF2B5EF4-FFF2-40B4-BE49-F238E27FC236}">
                <a16:creationId xmlns:a16="http://schemas.microsoft.com/office/drawing/2014/main" id="{9D491E22-92EA-618D-BAF8-776849CE7C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11338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1" name="Espaço Reservado para Texto 29">
            <a:extLst>
              <a:ext uri="{FF2B5EF4-FFF2-40B4-BE49-F238E27FC236}">
                <a16:creationId xmlns:a16="http://schemas.microsoft.com/office/drawing/2014/main" id="{BDD87BC4-5DA3-8DE4-6EB4-09DF200DC5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764" y="3911570"/>
            <a:ext cx="3516312" cy="312738"/>
          </a:xfrm>
        </p:spPr>
        <p:txBody>
          <a:bodyPr>
            <a:normAutofit/>
          </a:bodyPr>
          <a:lstStyle>
            <a:lvl1pPr marR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400" b="1" i="0" u="none" strike="noStrike" cap="none" dirty="0" smtClean="0">
                <a:solidFill>
                  <a:schemeClr val="tx2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</a:t>
            </a:r>
          </a:p>
        </p:txBody>
      </p:sp>
      <p:sp>
        <p:nvSpPr>
          <p:cNvPr id="33" name="Espaço Reservado para Texto 32">
            <a:extLst>
              <a:ext uri="{FF2B5EF4-FFF2-40B4-BE49-F238E27FC236}">
                <a16:creationId xmlns:a16="http://schemas.microsoft.com/office/drawing/2014/main" id="{5B90BA16-3647-7EE4-E8E7-A0663719D6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23244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4" name="Espaço Reservado para Texto 32">
            <a:extLst>
              <a:ext uri="{FF2B5EF4-FFF2-40B4-BE49-F238E27FC236}">
                <a16:creationId xmlns:a16="http://schemas.microsoft.com/office/drawing/2014/main" id="{20BD869A-4B19-32B8-B2D1-E173FCFC99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32315" y="4284878"/>
            <a:ext cx="3516312" cy="1370013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6" name="Espaço Reservado para Imagem 35">
            <a:extLst>
              <a:ext uri="{FF2B5EF4-FFF2-40B4-BE49-F238E27FC236}">
                <a16:creationId xmlns:a16="http://schemas.microsoft.com/office/drawing/2014/main" id="{BDB52A58-E55C-9C98-C52A-346308CB97D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397500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37" name="Espaço Reservado para Imagem 35">
            <a:extLst>
              <a:ext uri="{FF2B5EF4-FFF2-40B4-BE49-F238E27FC236}">
                <a16:creationId xmlns:a16="http://schemas.microsoft.com/office/drawing/2014/main" id="{C1628873-D7CE-181B-53FE-C45F4CA950A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957144" y="3803683"/>
            <a:ext cx="481013" cy="479425"/>
          </a:xfrm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pt-BR"/>
              <a:t>Ícone</a:t>
            </a:r>
          </a:p>
        </p:txBody>
      </p:sp>
      <p:sp>
        <p:nvSpPr>
          <p:cNvPr id="26" name="Espaço Reservado para Texto 24">
            <a:extLst>
              <a:ext uri="{FF2B5EF4-FFF2-40B4-BE49-F238E27FC236}">
                <a16:creationId xmlns:a16="http://schemas.microsoft.com/office/drawing/2014/main" id="{78C5B9BC-23BA-9D40-0EFB-FD4839B9D6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3289" y="2698751"/>
            <a:ext cx="1971675" cy="1052513"/>
          </a:xfrm>
        </p:spPr>
        <p:txBody>
          <a:bodyPr lIns="0">
            <a:no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6000" b="1" i="0" u="none" strike="noStrike" cap="none" dirty="0">
                <a:solidFill>
                  <a:srgbClr val="DAD8D8"/>
                </a:solidFill>
                <a:latin typeface="+mj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95C0EA-8668-632B-6E8C-C7C8464EF9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4038" y="2372411"/>
            <a:ext cx="41576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40898284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57089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>
            <a:extLst>
              <a:ext uri="{FF2B5EF4-FFF2-40B4-BE49-F238E27FC236}">
                <a16:creationId xmlns:a16="http://schemas.microsoft.com/office/drawing/2014/main" id="{2C50B055-D4D1-8B28-58F6-A4E7EE06C736}"/>
              </a:ext>
            </a:extLst>
          </p:cNvPr>
          <p:cNvSpPr/>
          <p:nvPr userDrawn="1"/>
        </p:nvSpPr>
        <p:spPr>
          <a:xfrm>
            <a:off x="9740900" y="4254388"/>
            <a:ext cx="3476175" cy="3476175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8EC6370-4927-C92F-ACF0-D1E7FF52C1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731040" y="-591489"/>
            <a:ext cx="8040978" cy="80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5771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ço Reservado para Imagem 19">
            <a:extLst>
              <a:ext uri="{FF2B5EF4-FFF2-40B4-BE49-F238E27FC236}">
                <a16:creationId xmlns:a16="http://schemas.microsoft.com/office/drawing/2014/main" id="{F9F2879B-1708-B68F-540E-494C085AD7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8390" y="1527646"/>
            <a:ext cx="4170660" cy="4170660"/>
          </a:xfrm>
          <a:prstGeom prst="ellipse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9647610-F492-48EE-CCB8-AD39FEEDC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2816225"/>
            <a:ext cx="50673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4800" b="1" i="0" u="none" strike="noStrike" cap="none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AD957BC-C55B-0228-16B7-203A598615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44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3E6DD1D3-15F5-4616-A348-AC448C8A14AB}" type="datetimeFigureOut">
              <a:rPr lang="pt-BR" smtClean="0"/>
              <a:t>16/05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4899489-77E4-8AF7-E1D1-B8CA56026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9760599-4CA6-3D27-2B73-A6CBCEE6E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667000" cy="365125"/>
          </a:xfrm>
          <a:prstGeom prst="rect">
            <a:avLst/>
          </a:prstGeom>
        </p:spPr>
        <p:txBody>
          <a:bodyPr/>
          <a:lstStyle/>
          <a:p>
            <a:fld id="{F43D91A0-3E8E-4090-8D40-C0F9E742A5CB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Círculo (Outline Foto)">
            <a:extLst>
              <a:ext uri="{FF2B5EF4-FFF2-40B4-BE49-F238E27FC236}">
                <a16:creationId xmlns:a16="http://schemas.microsoft.com/office/drawing/2014/main" id="{DEE7ED6F-280B-4BC1-CF9E-415E582F157A}"/>
              </a:ext>
            </a:extLst>
          </p:cNvPr>
          <p:cNvSpPr/>
          <p:nvPr userDrawn="1"/>
        </p:nvSpPr>
        <p:spPr>
          <a:xfrm>
            <a:off x="805218" y="1404474"/>
            <a:ext cx="4417004" cy="4417004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10" name="Grafismo - Círculos">
            <a:extLst>
              <a:ext uri="{FF2B5EF4-FFF2-40B4-BE49-F238E27FC236}">
                <a16:creationId xmlns:a16="http://schemas.microsoft.com/office/drawing/2014/main" id="{B7C94C14-8C01-C13E-14B6-1ECF9CC706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135889" y="274462"/>
            <a:ext cx="1837252" cy="2158772"/>
          </a:xfrm>
          <a:prstGeom prst="rect">
            <a:avLst/>
          </a:prstGeom>
        </p:spPr>
      </p:pic>
      <p:grpSp>
        <p:nvGrpSpPr>
          <p:cNvPr id="12" name="Grafismo - Topografia">
            <a:extLst>
              <a:ext uri="{FF2B5EF4-FFF2-40B4-BE49-F238E27FC236}">
                <a16:creationId xmlns:a16="http://schemas.microsoft.com/office/drawing/2014/main" id="{7CCC5CB8-61CD-43A9-DF2F-4F45D1B21138}"/>
              </a:ext>
            </a:extLst>
          </p:cNvPr>
          <p:cNvGrpSpPr/>
          <p:nvPr userDrawn="1"/>
        </p:nvGrpSpPr>
        <p:grpSpPr>
          <a:xfrm rot="10800000">
            <a:off x="161924" y="6509730"/>
            <a:ext cx="12030075" cy="475316"/>
            <a:chOff x="0" y="6347706"/>
            <a:chExt cx="11687627" cy="461786"/>
          </a:xfrm>
        </p:grpSpPr>
        <p:pic>
          <p:nvPicPr>
            <p:cNvPr id="13" name="Google Shape;108;p2">
              <a:extLst>
                <a:ext uri="{FF2B5EF4-FFF2-40B4-BE49-F238E27FC236}">
                  <a16:creationId xmlns:a16="http://schemas.microsoft.com/office/drawing/2014/main" id="{60B6082C-721D-B164-36FA-60EC2677FB63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 b="61474"/>
            <a:stretch/>
          </p:blipFill>
          <p:spPr>
            <a:xfrm>
              <a:off x="0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" name="Google Shape;109;p2">
              <a:extLst>
                <a:ext uri="{FF2B5EF4-FFF2-40B4-BE49-F238E27FC236}">
                  <a16:creationId xmlns:a16="http://schemas.microsoft.com/office/drawing/2014/main" id="{780DA761-98CD-4A24-6B8B-363BFEA33EEB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 b="61474"/>
            <a:stretch/>
          </p:blipFill>
          <p:spPr>
            <a:xfrm>
              <a:off x="5838371" y="6347706"/>
              <a:ext cx="5849257" cy="46178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6" name="Logo">
            <a:extLst>
              <a:ext uri="{FF2B5EF4-FFF2-40B4-BE49-F238E27FC236}">
                <a16:creationId xmlns:a16="http://schemas.microsoft.com/office/drawing/2014/main" id="{1A7D77B8-D82B-EE46-59A3-B08122B3BBE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34286" y="1200983"/>
            <a:ext cx="1412714" cy="829797"/>
          </a:xfrm>
          <a:prstGeom prst="rect">
            <a:avLst/>
          </a:prstGeom>
        </p:spPr>
      </p:pic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A590A436-C4FC-90AF-4136-6CB7CD1825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4268788"/>
            <a:ext cx="5067300" cy="365125"/>
          </a:xfrm>
        </p:spPr>
        <p:txBody>
          <a:bodyPr>
            <a:normAutofit/>
          </a:bodyPr>
          <a:lstStyle>
            <a:lvl1pPr>
              <a:defRPr lang="pt-BR" sz="1100" b="0" i="0" u="none" strike="noStrike" kern="1200" cap="all" spc="1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25" name="Espaço Reservado para Imagem 24">
            <a:extLst>
              <a:ext uri="{FF2B5EF4-FFF2-40B4-BE49-F238E27FC236}">
                <a16:creationId xmlns:a16="http://schemas.microsoft.com/office/drawing/2014/main" id="{00B443F9-E135-FF3E-E804-8FB8BE3E81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" y="1862138"/>
            <a:ext cx="2419350" cy="2178050"/>
          </a:xfrm>
        </p:spPr>
        <p:txBody>
          <a:bodyPr/>
          <a:lstStyle>
            <a:lvl1pPr algn="ctr">
              <a:defRPr b="0">
                <a:solidFill>
                  <a:schemeClr val="accent2"/>
                </a:solidFill>
              </a:defRPr>
            </a:lvl1pPr>
          </a:lstStyle>
          <a:p>
            <a:r>
              <a:rPr lang="pt-BR"/>
              <a:t>Grafismo </a:t>
            </a:r>
            <a:br>
              <a:rPr lang="pt-BR"/>
            </a:br>
            <a:r>
              <a:rPr lang="pt-BR"/>
              <a:t>(opcional)</a:t>
            </a:r>
          </a:p>
        </p:txBody>
      </p:sp>
      <p:pic>
        <p:nvPicPr>
          <p:cNvPr id="26" name="Gráfico 25">
            <a:extLst>
              <a:ext uri="{FF2B5EF4-FFF2-40B4-BE49-F238E27FC236}">
                <a16:creationId xmlns:a16="http://schemas.microsoft.com/office/drawing/2014/main" id="{F1A091A3-AFD6-49CA-1829-37DA249DD2C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85919" y="-483062"/>
            <a:ext cx="1577057" cy="185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002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5" y="602332"/>
            <a:ext cx="6832600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0" y="865524"/>
            <a:ext cx="6832600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5000" y="2090738"/>
            <a:ext cx="6832600" cy="4132846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1092580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51946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11338" y="602332"/>
            <a:ext cx="5919787" cy="447675"/>
          </a:xfrm>
        </p:spPr>
        <p:txBody>
          <a:bodyPr lIns="126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213" y="865524"/>
            <a:ext cx="5919787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5E7C3AD-E15C-80F2-4FED-5155F41E38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2526167" y="650458"/>
            <a:ext cx="4716432" cy="554179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4EBD6769-77D4-163B-AC96-F0F1CB1F70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64BC587-E1BC-D84B-13E1-280D52F92BC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842E5A5A-7704-2F48-8702-A3E6101A002E}"/>
              </a:ext>
            </a:extLst>
          </p:cNvPr>
          <p:cNvSpPr/>
          <p:nvPr userDrawn="1"/>
        </p:nvSpPr>
        <p:spPr>
          <a:xfrm>
            <a:off x="1828046" y="2954787"/>
            <a:ext cx="2952000" cy="360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spaço Reservado para Texto 3">
            <a:extLst>
              <a:ext uri="{FF2B5EF4-FFF2-40B4-BE49-F238E27FC236}">
                <a16:creationId xmlns:a16="http://schemas.microsoft.com/office/drawing/2014/main" id="{CDF90CEE-BDF2-3D8C-A60C-9E9609E82BD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825882" y="1920603"/>
            <a:ext cx="5922962" cy="727075"/>
          </a:xfrm>
        </p:spPr>
        <p:txBody>
          <a:bodyPr>
            <a:norm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9F7F299-B9F4-BC9F-95FF-5ED073B643B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824038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anchor="t" anchorCtr="0">
            <a:noAutofit/>
          </a:bodyPr>
          <a:lstStyle>
            <a:lvl1pPr marR="0" algn="l" rtl="0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lang="pt-BR" sz="1300" b="0" i="0" u="none" strike="noStrike" cap="none" dirty="0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0" name="Espaço Reservado para Texto 5">
            <a:extLst>
              <a:ext uri="{FF2B5EF4-FFF2-40B4-BE49-F238E27FC236}">
                <a16:creationId xmlns:a16="http://schemas.microsoft.com/office/drawing/2014/main" id="{79E14420-1845-E853-61FD-FA2963FDC8F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9905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Texto 5">
            <a:extLst>
              <a:ext uri="{FF2B5EF4-FFF2-40B4-BE49-F238E27FC236}">
                <a16:creationId xmlns:a16="http://schemas.microsoft.com/office/drawing/2014/main" id="{913B9138-B8EB-3199-7F11-1E6E66F0F89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25600" y="3315150"/>
            <a:ext cx="2952000" cy="2901500"/>
          </a:xfrm>
          <a:solidFill>
            <a:srgbClr val="2D3D70">
              <a:alpha val="90000"/>
              <a:tint val="40000"/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srgbClr val="2D3D70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 spcFirstLastPara="0" vert="horz" wrap="square" lIns="180000" tIns="261366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dirty="0">
                <a:solidFill>
                  <a:schemeClr val="tx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5">
            <a:extLst>
              <a:ext uri="{FF2B5EF4-FFF2-40B4-BE49-F238E27FC236}">
                <a16:creationId xmlns:a16="http://schemas.microsoft.com/office/drawing/2014/main" id="{B8F1D9A9-B7F4-BE71-F7ED-0A07DA24A9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824038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19" name="Espaço Reservado para Texto 5">
            <a:extLst>
              <a:ext uri="{FF2B5EF4-FFF2-40B4-BE49-F238E27FC236}">
                <a16:creationId xmlns:a16="http://schemas.microsoft.com/office/drawing/2014/main" id="{980425ED-7FEC-0C8E-25E6-739799A406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09905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  <p:sp>
        <p:nvSpPr>
          <p:cNvPr id="20" name="Espaço Reservado para Texto 5">
            <a:extLst>
              <a:ext uri="{FF2B5EF4-FFF2-40B4-BE49-F238E27FC236}">
                <a16:creationId xmlns:a16="http://schemas.microsoft.com/office/drawing/2014/main" id="{C5B6446B-3A90-952C-4B30-11612A5C500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25600" y="2961188"/>
            <a:ext cx="2952000" cy="353377"/>
          </a:xfrm>
          <a:solidFill>
            <a:schemeClr val="accent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80000" tIns="180000" rIns="180000" bIns="392049" numCol="1" spcCol="1270" rtlCol="0" anchor="t" anchorCtr="0">
            <a:noAutofit/>
          </a:bodyPr>
          <a:lstStyle>
            <a:lvl1pPr>
              <a:defRPr lang="pt-BR" sz="1300" b="0" i="0" u="none" strike="noStrike" cap="none" spc="-40" baseline="0" dirty="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</a:pPr>
            <a:r>
              <a:rPr lang="pt-BR"/>
              <a:t>Clique para editar os estilos</a:t>
            </a:r>
          </a:p>
        </p:txBody>
      </p:sp>
    </p:spTree>
    <p:extLst>
      <p:ext uri="{BB962C8B-B14F-4D97-AF65-F5344CB8AC3E}">
        <p14:creationId xmlns:p14="http://schemas.microsoft.com/office/powerpoint/2010/main" val="23102338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tx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0833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B9457824-AFC5-539D-B4C1-7A3A5E03D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74889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ayout Personalizad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E3206E-0AB7-B63C-651D-884C11379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2350" y="2090737"/>
            <a:ext cx="6832600" cy="2674937"/>
          </a:xfrm>
        </p:spPr>
        <p:txBody>
          <a:bodyPr anchor="ctr"/>
          <a:lstStyle>
            <a:lvl1pPr>
              <a:lnSpc>
                <a:spcPct val="80000"/>
              </a:lnSpc>
              <a:defRPr lang="pt-BR" sz="4400" b="1" i="0" u="none" strike="noStrike" kern="1200" cap="none" spc="-1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1575969D-0F0E-88B6-17B4-F083C94DB6A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4438651" y="0"/>
            <a:ext cx="6858000" cy="6858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CE54C1C0-D953-09FC-46AB-1CD803756B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362" y="4357257"/>
            <a:ext cx="1577057" cy="1853043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15B50A3B-6C12-DE17-8536-FE3F8B4AA77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" r="32"/>
          <a:stretch/>
        </p:blipFill>
        <p:spPr>
          <a:xfrm>
            <a:off x="1038386" y="476863"/>
            <a:ext cx="1411800" cy="829797"/>
          </a:xfrm>
          <a:prstGeom prst="rect">
            <a:avLst/>
          </a:prstGeom>
        </p:spPr>
      </p:pic>
      <p:sp>
        <p:nvSpPr>
          <p:cNvPr id="19" name="Espaço Reservado para Texto 4">
            <a:extLst>
              <a:ext uri="{FF2B5EF4-FFF2-40B4-BE49-F238E27FC236}">
                <a16:creationId xmlns:a16="http://schemas.microsoft.com/office/drawing/2014/main" id="{4D87E33E-59D6-DAD1-29AD-45184F79D6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538" y="4268788"/>
            <a:ext cx="6892925" cy="496887"/>
          </a:xfrm>
        </p:spPr>
        <p:txBody>
          <a:bodyPr lIns="108000" anchor="ctr">
            <a:normAutofit/>
          </a:bodyPr>
          <a:lstStyle>
            <a:lvl1pPr>
              <a:defRPr sz="1100" b="0" cap="all" spc="100" baseline="0">
                <a:solidFill>
                  <a:schemeClr val="bg2"/>
                </a:solidFill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768604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14150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322858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5194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194" y="929692"/>
            <a:ext cx="5067325" cy="447676"/>
          </a:xfrm>
        </p:spPr>
        <p:txBody>
          <a:bodyPr anchor="t">
            <a:noAutofit/>
          </a:bodyPr>
          <a:lstStyle>
            <a:lvl1pPr>
              <a:defRPr sz="32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/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37373" y="2652353"/>
            <a:ext cx="3215912" cy="321591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A49AEE0D-5540-3547-BC5A-EEFF6F6E43A8}"/>
              </a:ext>
            </a:extLst>
          </p:cNvPr>
          <p:cNvSpPr/>
          <p:nvPr userDrawn="1"/>
        </p:nvSpPr>
        <p:spPr>
          <a:xfrm>
            <a:off x="6063916" y="1579387"/>
            <a:ext cx="5362826" cy="5362826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C637D6D3-823D-5CA1-E4DB-1EBD83A6E131}"/>
              </a:ext>
            </a:extLst>
          </p:cNvPr>
          <p:cNvSpPr/>
          <p:nvPr userDrawn="1"/>
        </p:nvSpPr>
        <p:spPr>
          <a:xfrm>
            <a:off x="7111110" y="786063"/>
            <a:ext cx="1600274" cy="1600274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A80B72A2-436E-D9FD-0AF7-648ADA0BB41E}"/>
              </a:ext>
            </a:extLst>
          </p:cNvPr>
          <p:cNvSpPr/>
          <p:nvPr userDrawn="1"/>
        </p:nvSpPr>
        <p:spPr>
          <a:xfrm>
            <a:off x="10338588" y="4967534"/>
            <a:ext cx="1243812" cy="1243812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E9ECFA41-67A9-E4A3-C1EE-58B458E21DE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8972" y="-1239748"/>
            <a:ext cx="2726056" cy="2726056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C78140DF-A908-BA68-B4C7-7132F96883C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28107" y="1003061"/>
            <a:ext cx="1166279" cy="1166279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E0A0048-DD3B-B964-36C4-C7F672FEE75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567923" y="5196870"/>
            <a:ext cx="785141" cy="785141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r>
              <a:rPr lang="en-ID" err="1"/>
              <a:t>Imagem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11946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0300" y="1398588"/>
            <a:ext cx="5067325" cy="447676"/>
          </a:xfrm>
        </p:spPr>
        <p:txBody>
          <a:bodyPr anchor="t">
            <a:noAutofit/>
          </a:bodyPr>
          <a:lstStyle>
            <a:lvl1pPr>
              <a:defRPr sz="3000" b="1" spc="-1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25912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3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</a:buBlip>
              <a:defRPr sz="14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0A5879CF-3A57-F8C5-5DB7-0DDBF0702F5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8510" y="1335128"/>
            <a:ext cx="1022272" cy="1022272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65263578-CBA1-22C2-E629-7BBA7BA793D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888620" y="-1239748"/>
            <a:ext cx="2726056" cy="2726056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139BA4FB-8314-FDEC-15F0-E08569D9D4C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09642" y="5660305"/>
            <a:ext cx="681514" cy="681514"/>
          </a:xfrm>
          <a:prstGeom prst="rect">
            <a:avLst/>
          </a:prstGeom>
        </p:spPr>
      </p:pic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69C575-C0B5-1DAA-55F9-8E736B506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9568" y="1642454"/>
            <a:ext cx="4061502" cy="406150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  <p:sp>
        <p:nvSpPr>
          <p:cNvPr id="12" name="Espaço Reservado para Imagem 10">
            <a:extLst>
              <a:ext uri="{FF2B5EF4-FFF2-40B4-BE49-F238E27FC236}">
                <a16:creationId xmlns:a16="http://schemas.microsoft.com/office/drawing/2014/main" id="{82EDB949-E31F-851E-8023-22D09B234E0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4745" y="1494631"/>
            <a:ext cx="1190998" cy="1395317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pt-BR"/>
              <a:t>Grafismo</a:t>
            </a:r>
            <a:br>
              <a:rPr lang="pt-BR"/>
            </a:br>
            <a:r>
              <a:rPr lang="pt-BR"/>
              <a:t>(opcional)</a:t>
            </a:r>
          </a:p>
        </p:txBody>
      </p:sp>
    </p:spTree>
    <p:extLst>
      <p:ext uri="{BB962C8B-B14F-4D97-AF65-F5344CB8AC3E}">
        <p14:creationId xmlns:p14="http://schemas.microsoft.com/office/powerpoint/2010/main" val="206917996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6">
            <a:extLst>
              <a:ext uri="{FF2B5EF4-FFF2-40B4-BE49-F238E27FC236}">
                <a16:creationId xmlns:a16="http://schemas.microsoft.com/office/drawing/2014/main" id="{834422CA-98D0-C42F-0C28-8A89C29CEF93}"/>
              </a:ext>
            </a:extLst>
          </p:cNvPr>
          <p:cNvSpPr/>
          <p:nvPr userDrawn="1"/>
        </p:nvSpPr>
        <p:spPr>
          <a:xfrm>
            <a:off x="-279474" y="3770819"/>
            <a:ext cx="2140804" cy="2135020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E1A1E57D-5415-FF9C-C2D4-D14B577592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435006" y="1136650"/>
            <a:ext cx="1712170" cy="1707542"/>
          </a:xfrm>
          <a:prstGeom prst="rect">
            <a:avLst/>
          </a:prstGeom>
        </p:spPr>
      </p:pic>
      <p:sp>
        <p:nvSpPr>
          <p:cNvPr id="5" name="Oval 5">
            <a:extLst>
              <a:ext uri="{FF2B5EF4-FFF2-40B4-BE49-F238E27FC236}">
                <a16:creationId xmlns:a16="http://schemas.microsoft.com/office/drawing/2014/main" id="{A501F69B-8309-1299-025A-632B85EADA6F}"/>
              </a:ext>
            </a:extLst>
          </p:cNvPr>
          <p:cNvSpPr/>
          <p:nvPr userDrawn="1"/>
        </p:nvSpPr>
        <p:spPr>
          <a:xfrm>
            <a:off x="949082" y="1438270"/>
            <a:ext cx="3633370" cy="362354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D6F85BE3-183D-1F4D-9986-5566BC05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300" y="634416"/>
            <a:ext cx="5067325" cy="447675"/>
          </a:xfrm>
        </p:spPr>
        <p:txBody>
          <a:bodyPr lIns="108000">
            <a:normAutofit/>
          </a:bodyPr>
          <a:lstStyle>
            <a:lvl1pPr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850B399A-346B-51E3-1A92-253CADB72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0300" y="929692"/>
            <a:ext cx="5067325" cy="447676"/>
          </a:xfrm>
        </p:spPr>
        <p:txBody>
          <a:bodyPr anchor="t">
            <a:noAutofit/>
          </a:bodyPr>
          <a:lstStyle>
            <a:lvl1pPr>
              <a:defRPr sz="3600" b="1" spc="-100" baseline="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A4BD41B5-820C-FB18-CD31-121F93FBE6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9506" y="2090738"/>
            <a:ext cx="5068094" cy="4132846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1" u="none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</a:defRPr>
            </a:lvl2pPr>
            <a:lvl3pPr marL="792000" indent="-288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300">
                <a:solidFill>
                  <a:schemeClr val="bg2"/>
                </a:solidFill>
              </a:defRPr>
            </a:lvl3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endParaRPr lang="pt-BR"/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1BE0EC9-7069-DF75-D503-4A156A6520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853" y="1505358"/>
            <a:ext cx="3494354" cy="3494354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0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2928903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D7E6FD-C4DA-F588-E77A-C8DBEDF9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69426D3-4E19-986D-846B-503FE9472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555FC61-4954-E68E-3679-F6B0250BF4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6027764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758649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2691731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2094225"/>
            <a:ext cx="2398847" cy="2398847"/>
          </a:xfrm>
          <a:prstGeom prst="ellipse">
            <a:avLst/>
          </a:prstGeom>
          <a:solidFill>
            <a:srgbClr val="F3AB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/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C5BCF3B3-3544-DAA9-5634-21C61FEECDBC}"/>
              </a:ext>
            </a:extLst>
          </p:cNvPr>
          <p:cNvSpPr/>
          <p:nvPr userDrawn="1"/>
        </p:nvSpPr>
        <p:spPr>
          <a:xfrm>
            <a:off x="931579" y="2094225"/>
            <a:ext cx="5055268" cy="362902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B5DF07B2-02A4-CB71-CA7E-52A98612C97F}"/>
              </a:ext>
            </a:extLst>
          </p:cNvPr>
          <p:cNvSpPr/>
          <p:nvPr userDrawn="1"/>
        </p:nvSpPr>
        <p:spPr>
          <a:xfrm>
            <a:off x="6223200" y="2094224"/>
            <a:ext cx="5054400" cy="3622265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13" name="Título 8">
            <a:extLst>
              <a:ext uri="{FF2B5EF4-FFF2-40B4-BE49-F238E27FC236}">
                <a16:creationId xmlns:a16="http://schemas.microsoft.com/office/drawing/2014/main" id="{7CD44CD7-56CD-8EB0-6CDD-B78477F92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09" y="641350"/>
            <a:ext cx="5969841" cy="92174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000" b="1" i="0" u="none" strike="noStrike" cap="none" spc="-10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7" name="Espaço Reservado para Conteúdo 16">
            <a:extLst>
              <a:ext uri="{FF2B5EF4-FFF2-40B4-BE49-F238E27FC236}">
                <a16:creationId xmlns:a16="http://schemas.microsoft.com/office/drawing/2014/main" id="{70EC372B-880B-D5C5-1EC1-C8E4283A3C5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0139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8" name="Espaço Reservado para Conteúdo 16">
            <a:extLst>
              <a:ext uri="{FF2B5EF4-FFF2-40B4-BE49-F238E27FC236}">
                <a16:creationId xmlns:a16="http://schemas.microsoft.com/office/drawing/2014/main" id="{DD68C171-7AB8-FCB5-8C97-0B242937AF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01326" y="2344334"/>
            <a:ext cx="4498147" cy="3146829"/>
          </a:xfrm>
        </p:spPr>
        <p:txBody>
          <a:bodyPr/>
          <a:lstStyle>
            <a:lvl1pPr algn="ctr">
              <a:spcAft>
                <a:spcPts val="1200"/>
              </a:spcAft>
              <a:defRPr sz="1500"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6" name="Imagem 5" descr="Logotipo&#10;&#10;Descrição gerada automaticamente">
            <a:extLst>
              <a:ext uri="{FF2B5EF4-FFF2-40B4-BE49-F238E27FC236}">
                <a16:creationId xmlns:a16="http://schemas.microsoft.com/office/drawing/2014/main" id="{7670CCF1-D2B3-0565-9DD6-EE3AB55A5C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77675" y="278512"/>
            <a:ext cx="864013" cy="50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22857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A62373F-9A2F-0755-558D-BC41F23DDA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57953087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áfico 20">
            <a:extLst>
              <a:ext uri="{FF2B5EF4-FFF2-40B4-BE49-F238E27FC236}">
                <a16:creationId xmlns:a16="http://schemas.microsoft.com/office/drawing/2014/main" id="{8FC6E60B-071E-D350-BC6F-C0CD9604C70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360999" y="2586446"/>
            <a:ext cx="2101026" cy="2101026"/>
          </a:xfrm>
          <a:prstGeom prst="rect">
            <a:avLst/>
          </a:prstGeom>
        </p:spPr>
      </p:pic>
      <p:sp>
        <p:nvSpPr>
          <p:cNvPr id="22" name="Freeform: Shape 24">
            <a:extLst>
              <a:ext uri="{FF2B5EF4-FFF2-40B4-BE49-F238E27FC236}">
                <a16:creationId xmlns:a16="http://schemas.microsoft.com/office/drawing/2014/main" id="{55589210-86D7-6986-4F2E-47E6E193B276}"/>
              </a:ext>
            </a:extLst>
          </p:cNvPr>
          <p:cNvSpPr/>
          <p:nvPr userDrawn="1"/>
        </p:nvSpPr>
        <p:spPr>
          <a:xfrm>
            <a:off x="1" y="5491163"/>
            <a:ext cx="1460543" cy="1360974"/>
          </a:xfrm>
          <a:custGeom>
            <a:avLst/>
            <a:gdLst>
              <a:gd name="connsiteX0" fmla="*/ 618317 w 1778972"/>
              <a:gd name="connsiteY0" fmla="*/ 0 h 1657695"/>
              <a:gd name="connsiteX1" fmla="*/ 1778972 w 1778972"/>
              <a:gd name="connsiteY1" fmla="*/ 1160655 h 1657695"/>
              <a:gd name="connsiteX2" fmla="*/ 1687762 w 1778972"/>
              <a:gd name="connsiteY2" fmla="*/ 1612435 h 1657695"/>
              <a:gd name="connsiteX3" fmla="*/ 1663196 w 1778972"/>
              <a:gd name="connsiteY3" fmla="*/ 1657695 h 1657695"/>
              <a:gd name="connsiteX4" fmla="*/ 0 w 1778972"/>
              <a:gd name="connsiteY4" fmla="*/ 1657695 h 1657695"/>
              <a:gd name="connsiteX5" fmla="*/ 0 w 1778972"/>
              <a:gd name="connsiteY5" fmla="*/ 179622 h 1657695"/>
              <a:gd name="connsiteX6" fmla="*/ 65080 w 1778972"/>
              <a:gd name="connsiteY6" fmla="*/ 140085 h 1657695"/>
              <a:gd name="connsiteX7" fmla="*/ 618317 w 1778972"/>
              <a:gd name="connsiteY7" fmla="*/ 0 h 1657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78972" h="1657695">
                <a:moveTo>
                  <a:pt x="618317" y="0"/>
                </a:moveTo>
                <a:cubicBezTo>
                  <a:pt x="1259329" y="0"/>
                  <a:pt x="1778972" y="519643"/>
                  <a:pt x="1778972" y="1160655"/>
                </a:cubicBezTo>
                <a:cubicBezTo>
                  <a:pt x="1778972" y="1320908"/>
                  <a:pt x="1746495" y="1473576"/>
                  <a:pt x="1687762" y="1612435"/>
                </a:cubicBezTo>
                <a:lnTo>
                  <a:pt x="1663196" y="1657695"/>
                </a:lnTo>
                <a:lnTo>
                  <a:pt x="0" y="1657695"/>
                </a:lnTo>
                <a:lnTo>
                  <a:pt x="0" y="179622"/>
                </a:lnTo>
                <a:lnTo>
                  <a:pt x="65080" y="140085"/>
                </a:lnTo>
                <a:cubicBezTo>
                  <a:pt x="229537" y="50747"/>
                  <a:pt x="418001" y="0"/>
                  <a:pt x="618317" y="0"/>
                </a:cubicBezTo>
                <a:close/>
              </a:path>
            </a:pathLst>
          </a:cu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FE12D4-690A-0F87-A603-8BADEE0A2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4978" y="1142317"/>
            <a:ext cx="5044671" cy="920750"/>
          </a:xfrm>
        </p:spPr>
        <p:txBody>
          <a:bodyPr anchor="t">
            <a:noAutofit/>
          </a:bodyPr>
          <a:lstStyle>
            <a:lvl1pPr algn="ctr">
              <a:defRPr sz="3600" b="1" spc="-100" baseline="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2D91843-CA13-7080-4F10-850D261F1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79700" y="2239906"/>
            <a:ext cx="6832600" cy="951402"/>
          </a:xfrm>
        </p:spPr>
        <p:txBody>
          <a:bodyPr>
            <a:normAutofit/>
          </a:bodyPr>
          <a:lstStyle>
            <a:lvl1pPr marL="0" marR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F65EBF6C-485C-17DD-8EC2-C13A19FCC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7000" y="773884"/>
            <a:ext cx="5067325" cy="354597"/>
          </a:xfrm>
        </p:spPr>
        <p:txBody>
          <a:bodyPr lIns="108000" anchor="b">
            <a:normAutofit/>
          </a:bodyPr>
          <a:lstStyle>
            <a:lvl1pPr algn="ctr">
              <a:lnSpc>
                <a:spcPct val="100000"/>
              </a:lnSpc>
              <a:defRPr sz="1100" b="0" cap="all" spc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7" name="Freeform: Shape 26">
            <a:extLst>
              <a:ext uri="{FF2B5EF4-FFF2-40B4-BE49-F238E27FC236}">
                <a16:creationId xmlns:a16="http://schemas.microsoft.com/office/drawing/2014/main" id="{5E95BECC-9D3F-5219-68DD-89416A67263D}"/>
              </a:ext>
            </a:extLst>
          </p:cNvPr>
          <p:cNvSpPr/>
          <p:nvPr userDrawn="1"/>
        </p:nvSpPr>
        <p:spPr>
          <a:xfrm>
            <a:off x="3360987" y="3762124"/>
            <a:ext cx="4638820" cy="3090011"/>
          </a:xfrm>
          <a:custGeom>
            <a:avLst/>
            <a:gdLst>
              <a:gd name="connsiteX0" fmla="*/ 2319410 w 4638820"/>
              <a:gd name="connsiteY0" fmla="*/ 0 h 3090010"/>
              <a:gd name="connsiteX1" fmla="*/ 4638820 w 4638820"/>
              <a:gd name="connsiteY1" fmla="*/ 2319408 h 3090010"/>
              <a:gd name="connsiteX2" fmla="*/ 4534544 w 4638820"/>
              <a:gd name="connsiteY2" fmla="*/ 3009129 h 3090010"/>
              <a:gd name="connsiteX3" fmla="*/ 4504942 w 4638820"/>
              <a:gd name="connsiteY3" fmla="*/ 3090010 h 3090010"/>
              <a:gd name="connsiteX4" fmla="*/ 133879 w 4638820"/>
              <a:gd name="connsiteY4" fmla="*/ 3090010 h 3090010"/>
              <a:gd name="connsiteX5" fmla="*/ 104276 w 4638820"/>
              <a:gd name="connsiteY5" fmla="*/ 3009129 h 3090010"/>
              <a:gd name="connsiteX6" fmla="*/ 0 w 4638820"/>
              <a:gd name="connsiteY6" fmla="*/ 2319408 h 3090010"/>
              <a:gd name="connsiteX7" fmla="*/ 2319410 w 4638820"/>
              <a:gd name="connsiteY7" fmla="*/ 0 h 309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38820" h="3090010">
                <a:moveTo>
                  <a:pt x="2319410" y="0"/>
                </a:moveTo>
                <a:cubicBezTo>
                  <a:pt x="3600385" y="0"/>
                  <a:pt x="4638820" y="1038434"/>
                  <a:pt x="4638820" y="2319408"/>
                </a:cubicBezTo>
                <a:cubicBezTo>
                  <a:pt x="4638820" y="2559591"/>
                  <a:pt x="4602313" y="2791247"/>
                  <a:pt x="4534544" y="3009129"/>
                </a:cubicBezTo>
                <a:lnTo>
                  <a:pt x="4504942" y="3090010"/>
                </a:lnTo>
                <a:lnTo>
                  <a:pt x="133879" y="3090010"/>
                </a:lnTo>
                <a:lnTo>
                  <a:pt x="104276" y="3009129"/>
                </a:lnTo>
                <a:cubicBezTo>
                  <a:pt x="36508" y="2791247"/>
                  <a:pt x="0" y="2559591"/>
                  <a:pt x="0" y="2319408"/>
                </a:cubicBezTo>
                <a:cubicBezTo>
                  <a:pt x="0" y="1038434"/>
                  <a:pt x="1038435" y="0"/>
                  <a:pt x="231941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9" name="Oval 1">
            <a:extLst>
              <a:ext uri="{FF2B5EF4-FFF2-40B4-BE49-F238E27FC236}">
                <a16:creationId xmlns:a16="http://schemas.microsoft.com/office/drawing/2014/main" id="{0B03E640-E3BB-FB17-5537-862E75ABF681}"/>
              </a:ext>
            </a:extLst>
          </p:cNvPr>
          <p:cNvSpPr/>
          <p:nvPr userDrawn="1"/>
        </p:nvSpPr>
        <p:spPr>
          <a:xfrm>
            <a:off x="1409433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B9DBEBF6-24A2-17AF-03D7-D3A1A2315E42}"/>
              </a:ext>
            </a:extLst>
          </p:cNvPr>
          <p:cNvSpPr/>
          <p:nvPr userDrawn="1"/>
        </p:nvSpPr>
        <p:spPr>
          <a:xfrm>
            <a:off x="4673835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1" name="Oval 9">
            <a:extLst>
              <a:ext uri="{FF2B5EF4-FFF2-40B4-BE49-F238E27FC236}">
                <a16:creationId xmlns:a16="http://schemas.microsoft.com/office/drawing/2014/main" id="{7AFB69F1-EC89-0D88-F743-AB0CCD4E607B}"/>
              </a:ext>
            </a:extLst>
          </p:cNvPr>
          <p:cNvSpPr/>
          <p:nvPr userDrawn="1"/>
        </p:nvSpPr>
        <p:spPr>
          <a:xfrm>
            <a:off x="7998729" y="3372318"/>
            <a:ext cx="2844331" cy="284433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8100000" algn="tr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8" name="Espaço Reservado para Imagem 27">
            <a:extLst>
              <a:ext uri="{FF2B5EF4-FFF2-40B4-BE49-F238E27FC236}">
                <a16:creationId xmlns:a16="http://schemas.microsoft.com/office/drawing/2014/main" id="{6DE3F598-43D3-1E44-57FB-17EFD4D9254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512131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19" name="Espaço Reservado para Imagem 27">
            <a:extLst>
              <a:ext uri="{FF2B5EF4-FFF2-40B4-BE49-F238E27FC236}">
                <a16:creationId xmlns:a16="http://schemas.microsoft.com/office/drawing/2014/main" id="{E0926438-798E-F72E-EFC9-39EF87CE363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9618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0" name="Espaço Reservado para Imagem 27">
            <a:extLst>
              <a:ext uri="{FF2B5EF4-FFF2-40B4-BE49-F238E27FC236}">
                <a16:creationId xmlns:a16="http://schemas.microsoft.com/office/drawing/2014/main" id="{E07D2C1F-D30D-2277-57A7-14955984FC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01966" y="3631564"/>
            <a:ext cx="638934" cy="638934"/>
          </a:xfrm>
        </p:spPr>
        <p:txBody>
          <a:bodyPr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pt-BR"/>
              <a:t>Ícone</a:t>
            </a:r>
          </a:p>
        </p:txBody>
      </p:sp>
      <p:sp>
        <p:nvSpPr>
          <p:cNvPr id="25" name="Espaço Reservado para Texto 23">
            <a:extLst>
              <a:ext uri="{FF2B5EF4-FFF2-40B4-BE49-F238E27FC236}">
                <a16:creationId xmlns:a16="http://schemas.microsoft.com/office/drawing/2014/main" id="{10FAB265-50D2-444E-770C-DF530276BE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16450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7" name="Espaço Reservado para Texto 23">
            <a:extLst>
              <a:ext uri="{FF2B5EF4-FFF2-40B4-BE49-F238E27FC236}">
                <a16:creationId xmlns:a16="http://schemas.microsoft.com/office/drawing/2014/main" id="{A60E8CAA-48D5-61E9-C74D-2CCEB3E3A7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6296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29" name="Espaço Reservado para Texto 23">
            <a:extLst>
              <a:ext uri="{FF2B5EF4-FFF2-40B4-BE49-F238E27FC236}">
                <a16:creationId xmlns:a16="http://schemas.microsoft.com/office/drawing/2014/main" id="{73876383-9A46-664A-7697-809108EB46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1409" y="4339221"/>
            <a:ext cx="2419408" cy="355592"/>
          </a:xfrm>
        </p:spPr>
        <p:txBody>
          <a:bodyPr>
            <a:normAutofit/>
          </a:bodyPr>
          <a:lstStyle>
            <a:lvl1pPr algn="ctr">
              <a:defRPr sz="1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BR"/>
              <a:t>Título</a:t>
            </a:r>
          </a:p>
        </p:txBody>
      </p:sp>
      <p:sp>
        <p:nvSpPr>
          <p:cNvPr id="37" name="Espaço Reservado para Texto 36">
            <a:extLst>
              <a:ext uri="{FF2B5EF4-FFF2-40B4-BE49-F238E27FC236}">
                <a16:creationId xmlns:a16="http://schemas.microsoft.com/office/drawing/2014/main" id="{F5EC3AD8-AE40-5DF3-5734-FF5CE48658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10496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8" name="Espaço Reservado para Texto 36">
            <a:extLst>
              <a:ext uri="{FF2B5EF4-FFF2-40B4-BE49-F238E27FC236}">
                <a16:creationId xmlns:a16="http://schemas.microsoft.com/office/drawing/2014/main" id="{D2DAA205-1F5B-0E76-2E89-35678D12406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78915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39" name="Espaço Reservado para Texto 36">
            <a:extLst>
              <a:ext uri="{FF2B5EF4-FFF2-40B4-BE49-F238E27FC236}">
                <a16:creationId xmlns:a16="http://schemas.microsoft.com/office/drawing/2014/main" id="{EC8C1CAA-95F3-AE44-1F31-7D912F1B861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99247" y="4704373"/>
            <a:ext cx="2444373" cy="920750"/>
          </a:xfrm>
        </p:spPr>
        <p:txBody>
          <a:bodyPr>
            <a:noAutofit/>
          </a:bodyPr>
          <a:lstStyle>
            <a:lvl1pPr algn="ctr">
              <a:lnSpc>
                <a:spcPct val="150000"/>
              </a:lnSpc>
              <a:defRPr sz="1100" b="0">
                <a:solidFill>
                  <a:schemeClr val="tx2"/>
                </a:solidFill>
              </a:defRPr>
            </a:lvl1pPr>
            <a:lvl2pPr algn="ctr">
              <a:defRPr sz="1100">
                <a:solidFill>
                  <a:schemeClr val="tx2"/>
                </a:solidFill>
              </a:defRPr>
            </a:lvl2pPr>
            <a:lvl3pPr algn="ctr">
              <a:defRPr sz="1100">
                <a:solidFill>
                  <a:schemeClr val="tx2"/>
                </a:solidFill>
              </a:defRPr>
            </a:lvl3pPr>
            <a:lvl4pPr algn="ctr">
              <a:defRPr sz="1100">
                <a:solidFill>
                  <a:schemeClr val="tx2"/>
                </a:solidFill>
              </a:defRPr>
            </a:lvl4pPr>
            <a:lvl5pPr algn="ctr">
              <a:defRPr sz="11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23937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28" name="Espaço Reservado para Texto 26">
            <a:extLst>
              <a:ext uri="{FF2B5EF4-FFF2-40B4-BE49-F238E27FC236}">
                <a16:creationId xmlns:a16="http://schemas.microsoft.com/office/drawing/2014/main" id="{48FFDDFF-D427-23B0-5392-54A4F7DC0D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1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5" name="Espaço Reservado para Texto 26">
            <a:extLst>
              <a:ext uri="{FF2B5EF4-FFF2-40B4-BE49-F238E27FC236}">
                <a16:creationId xmlns:a16="http://schemas.microsoft.com/office/drawing/2014/main" id="{434FF1FA-B54B-D941-7236-4AB73CE07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1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6" name="Espaço Reservado para Texto 26">
            <a:extLst>
              <a:ext uri="{FF2B5EF4-FFF2-40B4-BE49-F238E27FC236}">
                <a16:creationId xmlns:a16="http://schemas.microsoft.com/office/drawing/2014/main" id="{94BBE6CA-1C8D-0C0E-98B1-F0C9675FB2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1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37" name="Espaço Reservado para Texto 26">
            <a:extLst>
              <a:ext uri="{FF2B5EF4-FFF2-40B4-BE49-F238E27FC236}">
                <a16:creationId xmlns:a16="http://schemas.microsoft.com/office/drawing/2014/main" id="{802FF599-8D20-63CA-9E5C-86076C60E4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3601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1" name="Espaço Reservado para Texto 26">
            <a:extLst>
              <a:ext uri="{FF2B5EF4-FFF2-40B4-BE49-F238E27FC236}">
                <a16:creationId xmlns:a16="http://schemas.microsoft.com/office/drawing/2014/main" id="{57A346B4-11F9-01EB-210A-4A70946F8E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97850" y="1566862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2" name="Espaço Reservado para Texto 26">
            <a:extLst>
              <a:ext uri="{FF2B5EF4-FFF2-40B4-BE49-F238E27FC236}">
                <a16:creationId xmlns:a16="http://schemas.microsoft.com/office/drawing/2014/main" id="{EC3DE48F-0EBD-2A68-925F-8A0EF020E6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97850" y="2546240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3" name="Espaço Reservado para Texto 26">
            <a:extLst>
              <a:ext uri="{FF2B5EF4-FFF2-40B4-BE49-F238E27FC236}">
                <a16:creationId xmlns:a16="http://schemas.microsoft.com/office/drawing/2014/main" id="{FF173AB6-483B-5C2C-0E35-74B8CFC072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97850" y="3507581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4" name="Espaço Reservado para Texto 26">
            <a:extLst>
              <a:ext uri="{FF2B5EF4-FFF2-40B4-BE49-F238E27FC236}">
                <a16:creationId xmlns:a16="http://schemas.microsoft.com/office/drawing/2014/main" id="{67ADE121-C2B0-51E4-A497-3BB512AA41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7850" y="4461884"/>
            <a:ext cx="654050" cy="656199"/>
          </a:xfrm>
        </p:spPr>
        <p:txBody>
          <a:bodyPr>
            <a:noAutofit/>
          </a:bodyPr>
          <a:lstStyle>
            <a:lvl1pPr algn="ctr">
              <a:defRPr sz="3600" b="0">
                <a:solidFill>
                  <a:schemeClr val="accent1"/>
                </a:solidFill>
                <a:latin typeface="+mj-lt"/>
              </a:defRPr>
            </a:lvl1pPr>
            <a:lvl2pPr>
              <a:defRPr sz="3600">
                <a:solidFill>
                  <a:schemeClr val="accent1"/>
                </a:solidFill>
                <a:latin typeface="+mj-lt"/>
              </a:defRPr>
            </a:lvl2pPr>
            <a:lvl3pPr>
              <a:defRPr sz="3600">
                <a:solidFill>
                  <a:schemeClr val="accent1"/>
                </a:solidFill>
                <a:latin typeface="+mj-lt"/>
              </a:defRPr>
            </a:lvl3pPr>
            <a:lvl4pPr>
              <a:defRPr sz="3600"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tx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2" name="Espaço Reservado para Texto 3">
            <a:extLst>
              <a:ext uri="{FF2B5EF4-FFF2-40B4-BE49-F238E27FC236}">
                <a16:creationId xmlns:a16="http://schemas.microsoft.com/office/drawing/2014/main" id="{79D8D897-387E-A66E-3D4D-C6E8F6F705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70391" y="3235508"/>
            <a:ext cx="3044731" cy="951402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110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5838961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ranc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5536CC76-6171-B09D-FDF3-59407A13526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77600" y="-1751088"/>
            <a:ext cx="2647804" cy="3111172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C99EB3E-B5D8-9B44-1758-975265A41B4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477559" y="3052763"/>
            <a:ext cx="5182891" cy="60899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BDA759A-9915-56A7-B65A-20AE4C2B5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3046009" cy="12811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6">
            <a:extLst>
              <a:ext uri="{FF2B5EF4-FFF2-40B4-BE49-F238E27FC236}">
                <a16:creationId xmlns:a16="http://schemas.microsoft.com/office/drawing/2014/main" id="{5A69258F-54AB-711A-8C68-B0EDF4C7EF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1669" y="1313487"/>
            <a:ext cx="3044731" cy="354597"/>
          </a:xfrm>
        </p:spPr>
        <p:txBody>
          <a:bodyPr lIns="108000" anchor="b">
            <a:normAutofit/>
          </a:bodyPr>
          <a:lstStyle>
            <a:lvl1pPr algn="l">
              <a:lnSpc>
                <a:spcPct val="100000"/>
              </a:lnSpc>
              <a:defRPr sz="11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err="1"/>
              <a:t>TítulO</a:t>
            </a:r>
            <a:endParaRPr lang="pt-BR"/>
          </a:p>
        </p:txBody>
      </p:sp>
      <p:sp>
        <p:nvSpPr>
          <p:cNvPr id="48" name="Espaço Reservado para Texto 45">
            <a:extLst>
              <a:ext uri="{FF2B5EF4-FFF2-40B4-BE49-F238E27FC236}">
                <a16:creationId xmlns:a16="http://schemas.microsoft.com/office/drawing/2014/main" id="{AA0A1508-379C-FE57-7F02-B2F7615EF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30813" y="160741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0" name="Espaço Reservado para Texto 45">
            <a:extLst>
              <a:ext uri="{FF2B5EF4-FFF2-40B4-BE49-F238E27FC236}">
                <a16:creationId xmlns:a16="http://schemas.microsoft.com/office/drawing/2014/main" id="{90EFF4E9-FB08-5C1A-9AE1-FC5E00F833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30813" y="2579309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6" name="Espaço Reservado para Texto 45">
            <a:extLst>
              <a:ext uri="{FF2B5EF4-FFF2-40B4-BE49-F238E27FC236}">
                <a16:creationId xmlns:a16="http://schemas.microsoft.com/office/drawing/2014/main" id="{69EED1E0-BCD6-F969-095D-CB3F4281C4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30813" y="4500843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7" name="Espaço Reservado para Texto 45">
            <a:extLst>
              <a:ext uri="{FF2B5EF4-FFF2-40B4-BE49-F238E27FC236}">
                <a16:creationId xmlns:a16="http://schemas.microsoft.com/office/drawing/2014/main" id="{FC661200-4B00-8BE8-EBFB-A1ADFE405E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30813" y="3533705"/>
            <a:ext cx="27447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8" name="Espaço Reservado para Texto 45">
            <a:extLst>
              <a:ext uri="{FF2B5EF4-FFF2-40B4-BE49-F238E27FC236}">
                <a16:creationId xmlns:a16="http://schemas.microsoft.com/office/drawing/2014/main" id="{345D7696-2F1D-1E51-5609-E3C0EBA299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756650" y="160741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59" name="Espaço Reservado para Texto 45">
            <a:extLst>
              <a:ext uri="{FF2B5EF4-FFF2-40B4-BE49-F238E27FC236}">
                <a16:creationId xmlns:a16="http://schemas.microsoft.com/office/drawing/2014/main" id="{22E326E2-1473-4ABD-2CF9-3D37955704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56650" y="2579309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0" name="Espaço Reservado para Texto 45">
            <a:extLst>
              <a:ext uri="{FF2B5EF4-FFF2-40B4-BE49-F238E27FC236}">
                <a16:creationId xmlns:a16="http://schemas.microsoft.com/office/drawing/2014/main" id="{5A6A8A0A-A9DC-57C3-F49B-D204B25F3E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56650" y="4500843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1" name="Espaço Reservado para Texto 45">
            <a:extLst>
              <a:ext uri="{FF2B5EF4-FFF2-40B4-BE49-F238E27FC236}">
                <a16:creationId xmlns:a16="http://schemas.microsoft.com/office/drawing/2014/main" id="{D3BE16D6-E390-D1BC-569E-B7C8A4BAC1E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56650" y="3533705"/>
            <a:ext cx="2516187" cy="625475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1400" b="0">
                <a:solidFill>
                  <a:schemeClr val="bg2"/>
                </a:solidFill>
              </a:defRPr>
            </a:lvl1pPr>
            <a:lvl2pPr>
              <a:lnSpc>
                <a:spcPct val="130000"/>
              </a:lnSpc>
              <a:defRPr sz="1300">
                <a:solidFill>
                  <a:schemeClr val="tx2"/>
                </a:solidFill>
              </a:defRPr>
            </a:lvl2pPr>
            <a:lvl3pPr>
              <a:lnSpc>
                <a:spcPct val="130000"/>
              </a:lnSpc>
              <a:defRPr sz="1300">
                <a:solidFill>
                  <a:schemeClr val="tx2"/>
                </a:solidFill>
              </a:defRPr>
            </a:lvl3pPr>
            <a:lvl4pPr>
              <a:lnSpc>
                <a:spcPct val="130000"/>
              </a:lnSpc>
              <a:defRPr sz="1300">
                <a:solidFill>
                  <a:schemeClr val="tx2"/>
                </a:solidFill>
              </a:defRPr>
            </a:lvl4pPr>
            <a:lvl5pPr marL="1828800" indent="0">
              <a:lnSpc>
                <a:spcPct val="130000"/>
              </a:lnSpc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9F790EC3-C462-56AD-2B08-F7FF72508A8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76763" y="1571153"/>
            <a:ext cx="654050" cy="65405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9" name="Espaço Reservado para Imagem 6">
            <a:extLst>
              <a:ext uri="{FF2B5EF4-FFF2-40B4-BE49-F238E27FC236}">
                <a16:creationId xmlns:a16="http://schemas.microsoft.com/office/drawing/2014/main" id="{117F00D3-8A9D-BA5C-B4D6-56F53DABE08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576763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1" name="Espaço Reservado para Imagem 6">
            <a:extLst>
              <a:ext uri="{FF2B5EF4-FFF2-40B4-BE49-F238E27FC236}">
                <a16:creationId xmlns:a16="http://schemas.microsoft.com/office/drawing/2014/main" id="{C63AF8FD-7A31-97C0-140D-F6C27992E08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576763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3" name="Espaço Reservado para Imagem 6">
            <a:extLst>
              <a:ext uri="{FF2B5EF4-FFF2-40B4-BE49-F238E27FC236}">
                <a16:creationId xmlns:a16="http://schemas.microsoft.com/office/drawing/2014/main" id="{F1E03703-2380-F3EB-4FA7-CE7A98BD8A4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576763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8" name="Espaço Reservado para Imagem 6">
            <a:extLst>
              <a:ext uri="{FF2B5EF4-FFF2-40B4-BE49-F238E27FC236}">
                <a16:creationId xmlns:a16="http://schemas.microsoft.com/office/drawing/2014/main" id="{F2561D0A-B2DA-2E1A-6F9F-4F820557716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102600" y="157115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9" name="Espaço Reservado para Imagem 6">
            <a:extLst>
              <a:ext uri="{FF2B5EF4-FFF2-40B4-BE49-F238E27FC236}">
                <a16:creationId xmlns:a16="http://schemas.microsoft.com/office/drawing/2014/main" id="{5FF9A836-CC47-5A5F-1F9F-77925A1F458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02600" y="4468922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0" name="Espaço Reservado para Imagem 6">
            <a:extLst>
              <a:ext uri="{FF2B5EF4-FFF2-40B4-BE49-F238E27FC236}">
                <a16:creationId xmlns:a16="http://schemas.microsoft.com/office/drawing/2014/main" id="{6B2CA7E3-B922-EC4D-43CF-64B5C722AF4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8102600" y="3507444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1" name="Espaço Reservado para Imagem 6">
            <a:extLst>
              <a:ext uri="{FF2B5EF4-FFF2-40B4-BE49-F238E27FC236}">
                <a16:creationId xmlns:a16="http://schemas.microsoft.com/office/drawing/2014/main" id="{59009F60-9F6B-1234-55D4-BBD6C8FA18B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102600" y="2545093"/>
            <a:ext cx="654050" cy="654050"/>
          </a:xfrm>
          <a:prstGeom prst="ellipse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59670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544899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F73CDAE-20FF-F5BC-347A-843738C96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16FD09C-478B-AFB0-A25E-E7F586C0D7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3301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339FF7-E679-BC64-FE01-C49096429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4562" y="2848767"/>
            <a:ext cx="6832600" cy="1281113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 lang="pt-BR" sz="5400" b="1" i="0" u="none" strike="noStrike" kern="1200" cap="all" spc="-10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r>
              <a:rPr lang="pt-BR"/>
              <a:t>Clique para editar o </a:t>
            </a:r>
            <a:r>
              <a:rPr lang="pt-BR" err="1"/>
              <a:t>títulO</a:t>
            </a:r>
            <a:endParaRPr lang="pt-BR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74D81A32-4C7C-0CCE-4AE1-180F087D38D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8386" y="476863"/>
            <a:ext cx="1412714" cy="829797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9BD457A8-84E7-7430-6D08-43149ED43C5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643448" y="4877887"/>
            <a:ext cx="1577057" cy="1853043"/>
          </a:xfrm>
          <a:prstGeom prst="rect">
            <a:avLst/>
          </a:prstGeom>
        </p:spPr>
      </p:pic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0D810081-EA73-009A-C87B-3D42044833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2449218"/>
            <a:ext cx="6832600" cy="447675"/>
          </a:xfrm>
        </p:spPr>
        <p:txBody>
          <a:bodyPr lIns="144000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C8458586-A2E0-FAC7-BE44-2EA68F6CF9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4400" y="4205706"/>
            <a:ext cx="6832600" cy="447675"/>
          </a:xfrm>
        </p:spPr>
        <p:txBody>
          <a:bodyPr lIns="144000" anchor="t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24C9451C-4B61-4874-1435-D78622F233B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75600" y="-2844501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3941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7" name="Arco">
            <a:extLst>
              <a:ext uri="{FF2B5EF4-FFF2-40B4-BE49-F238E27FC236}">
                <a16:creationId xmlns:a16="http://schemas.microsoft.com/office/drawing/2014/main" id="{FEACC453-19FE-F672-C06C-EFABEC608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604789">
            <a:off x="6305041" y="536830"/>
            <a:ext cx="2987899" cy="2987899"/>
          </a:xfrm>
          <a:prstGeom prst="arc">
            <a:avLst>
              <a:gd name="adj1" fmla="val 14455503"/>
              <a:gd name="adj2" fmla="val 0"/>
            </a:avLst>
          </a:prstGeom>
          <a:ln w="127000" cap="rnd">
            <a:solidFill>
              <a:schemeClr val="bg2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: Rounded Corners 11">
            <a:extLst>
              <a:ext uri="{FF2B5EF4-FFF2-40B4-BE49-F238E27FC236}">
                <a16:creationId xmlns:a16="http://schemas.microsoft.com/office/drawing/2014/main" id="{5DDD0DB3-501E-0143-8384-4B5B0B19366F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77603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ipse 9">
            <a:extLst>
              <a:ext uri="{FF2B5EF4-FFF2-40B4-BE49-F238E27FC236}">
                <a16:creationId xmlns:a16="http://schemas.microsoft.com/office/drawing/2014/main" id="{1DA6EAF7-7A58-A806-93AB-79252ADE3D02}"/>
              </a:ext>
            </a:extLst>
          </p:cNvPr>
          <p:cNvSpPr/>
          <p:nvPr userDrawn="1"/>
        </p:nvSpPr>
        <p:spPr>
          <a:xfrm>
            <a:off x="5991426" y="507252"/>
            <a:ext cx="3400926" cy="3400926"/>
          </a:xfrm>
          <a:prstGeom prst="ellipse">
            <a:avLst/>
          </a:prstGeom>
          <a:noFill/>
          <a:ln w="57150" cap="rnd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63E891D6-3C9E-6CA7-58C5-A99C0C4D22B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458099" y="274462"/>
            <a:ext cx="1577057" cy="18530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827399-D6D9-8189-3904-36F5D879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38195"/>
            <a:ext cx="5067300" cy="1326091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48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r>
              <a:rPr lang="pt-BR"/>
              <a:t>Clique para editar o títul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3DD9C0-0B7B-4802-9204-0F90379C05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11" y="1170710"/>
            <a:ext cx="4516582" cy="4516582"/>
          </a:xfrm>
          <a:custGeom>
            <a:avLst/>
            <a:gdLst>
              <a:gd name="connsiteX0" fmla="*/ 3543300 w 7086600"/>
              <a:gd name="connsiteY0" fmla="*/ 0 h 7086600"/>
              <a:gd name="connsiteX1" fmla="*/ 7086600 w 7086600"/>
              <a:gd name="connsiteY1" fmla="*/ 3543300 h 7086600"/>
              <a:gd name="connsiteX2" fmla="*/ 3543300 w 7086600"/>
              <a:gd name="connsiteY2" fmla="*/ 7086600 h 7086600"/>
              <a:gd name="connsiteX3" fmla="*/ 0 w 7086600"/>
              <a:gd name="connsiteY3" fmla="*/ 3543300 h 7086600"/>
              <a:gd name="connsiteX4" fmla="*/ 3543300 w 7086600"/>
              <a:gd name="connsiteY4" fmla="*/ 0 h 708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7086600">
                <a:moveTo>
                  <a:pt x="3543300" y="0"/>
                </a:moveTo>
                <a:cubicBezTo>
                  <a:pt x="5500211" y="0"/>
                  <a:pt x="7086600" y="1586389"/>
                  <a:pt x="7086600" y="3543300"/>
                </a:cubicBezTo>
                <a:cubicBezTo>
                  <a:pt x="7086600" y="5500211"/>
                  <a:pt x="5500211" y="7086600"/>
                  <a:pt x="3543300" y="7086600"/>
                </a:cubicBezTo>
                <a:cubicBezTo>
                  <a:pt x="1586389" y="7086600"/>
                  <a:pt x="0" y="5500211"/>
                  <a:pt x="0" y="3543300"/>
                </a:cubicBezTo>
                <a:cubicBezTo>
                  <a:pt x="0" y="1586389"/>
                  <a:pt x="1586389" y="0"/>
                  <a:pt x="35433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333"/>
            </a:lvl1pPr>
          </a:lstStyle>
          <a:p>
            <a:endParaRPr lang="en-ID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DA375F6-7AA0-AEC1-BC95-CE2BAFBDE8A2}"/>
              </a:ext>
            </a:extLst>
          </p:cNvPr>
          <p:cNvSpPr/>
          <p:nvPr userDrawn="1"/>
        </p:nvSpPr>
        <p:spPr>
          <a:xfrm>
            <a:off x="6114793" y="1078111"/>
            <a:ext cx="4747217" cy="4747217"/>
          </a:xfrm>
          <a:prstGeom prst="ellipse">
            <a:avLst/>
          </a:prstGeom>
          <a:noFill/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64327539">
                  <a:custGeom>
                    <a:avLst/>
                    <a:gdLst>
                      <a:gd name="connsiteX0" fmla="*/ 0 w 4747217"/>
                      <a:gd name="connsiteY0" fmla="*/ 2373609 h 4747217"/>
                      <a:gd name="connsiteX1" fmla="*/ 2373609 w 4747217"/>
                      <a:gd name="connsiteY1" fmla="*/ 0 h 4747217"/>
                      <a:gd name="connsiteX2" fmla="*/ 4747218 w 4747217"/>
                      <a:gd name="connsiteY2" fmla="*/ 2373609 h 4747217"/>
                      <a:gd name="connsiteX3" fmla="*/ 2373609 w 4747217"/>
                      <a:gd name="connsiteY3" fmla="*/ 4747218 h 4747217"/>
                      <a:gd name="connsiteX4" fmla="*/ 0 w 4747217"/>
                      <a:gd name="connsiteY4" fmla="*/ 2373609 h 4747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47217" h="4747217" extrusionOk="0">
                        <a:moveTo>
                          <a:pt x="0" y="2373609"/>
                        </a:moveTo>
                        <a:cubicBezTo>
                          <a:pt x="-47287" y="930507"/>
                          <a:pt x="1050209" y="-151600"/>
                          <a:pt x="2373609" y="0"/>
                        </a:cubicBezTo>
                        <a:cubicBezTo>
                          <a:pt x="3459270" y="-54555"/>
                          <a:pt x="4685701" y="1074288"/>
                          <a:pt x="4747218" y="2373609"/>
                        </a:cubicBezTo>
                        <a:cubicBezTo>
                          <a:pt x="4844760" y="3890868"/>
                          <a:pt x="3836141" y="4684234"/>
                          <a:pt x="2373609" y="4747218"/>
                        </a:cubicBezTo>
                        <a:cubicBezTo>
                          <a:pt x="1311770" y="4759003"/>
                          <a:pt x="3635" y="3726051"/>
                          <a:pt x="0" y="2373609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F3284FE4-4CFB-8D54-E3D2-F2EE05FC53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86" y="1200983"/>
            <a:ext cx="1412714" cy="8297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E1E74A66-AB3B-0B9D-E917-184B6A4C993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85919" y="-473413"/>
            <a:ext cx="1577057" cy="18530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40E63747-3802-E5CE-C8ED-52D01051B737}"/>
              </a:ext>
            </a:extLst>
          </p:cNvPr>
          <p:cNvSpPr txBox="1">
            <a:spLocks/>
          </p:cNvSpPr>
          <p:nvPr userDrawn="1"/>
        </p:nvSpPr>
        <p:spPr>
          <a:xfrm>
            <a:off x="914400" y="4763247"/>
            <a:ext cx="5067300" cy="13260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R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lang="pt-BR" sz="4800" b="1" i="0" u="none" strike="noStrike" kern="1200" cap="none" spc="-40" baseline="0" dirty="0">
                <a:solidFill>
                  <a:schemeClr val="accent1"/>
                </a:solidFill>
                <a:latin typeface="+mj-lt"/>
                <a:ea typeface="Arial"/>
                <a:cs typeface="Poppins" panose="00000500000000000000" pitchFamily="2" charset="0"/>
                <a:sym typeface="Arial"/>
              </a:defRPr>
            </a:lvl1pPr>
          </a:lstStyle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6AB1257F-413F-25D8-39C5-3FCF673DA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268788"/>
            <a:ext cx="5067300" cy="261937"/>
          </a:xfrm>
        </p:spPr>
        <p:txBody>
          <a:bodyPr>
            <a:noAutofit/>
          </a:bodyPr>
          <a:lstStyle>
            <a:lvl1pPr marR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Font typeface="Arial"/>
              <a:buNone/>
              <a:defRPr lang="pt-BR" sz="11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2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1E35B455-200F-4413-6A26-E292AAB88A1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0751250" y="5199385"/>
            <a:ext cx="953097" cy="953097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825313D-A284-DF6E-CA0F-9FEA8047887C}"/>
              </a:ext>
            </a:extLst>
          </p:cNvPr>
          <p:cNvSpPr/>
          <p:nvPr userDrawn="1"/>
        </p:nvSpPr>
        <p:spPr>
          <a:xfrm>
            <a:off x="914399" y="5094580"/>
            <a:ext cx="1725959" cy="3965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err="1">
                <a:solidFill>
                  <a:schemeClr val="bg1"/>
                </a:solidFill>
              </a:rPr>
              <a:t>Iniciar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Apresentação</a:t>
            </a:r>
            <a:endParaRPr lang="en-ID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6949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88C2BB54-28D0-7B69-03DE-35D0AF2305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45802" y="1131464"/>
            <a:ext cx="1918548" cy="1918548"/>
          </a:xfrm>
          <a:prstGeom prst="rect">
            <a:avLst/>
          </a:prstGeom>
        </p:spPr>
      </p:pic>
      <p:sp>
        <p:nvSpPr>
          <p:cNvPr id="3" name="Oval 5">
            <a:extLst>
              <a:ext uri="{FF2B5EF4-FFF2-40B4-BE49-F238E27FC236}">
                <a16:creationId xmlns:a16="http://schemas.microsoft.com/office/drawing/2014/main" id="{43A55EDC-8B05-1E90-D19A-7CF6933CD13C}"/>
              </a:ext>
            </a:extLst>
          </p:cNvPr>
          <p:cNvSpPr/>
          <p:nvPr userDrawn="1"/>
        </p:nvSpPr>
        <p:spPr>
          <a:xfrm>
            <a:off x="1982364" y="1365250"/>
            <a:ext cx="3629025" cy="36290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2D6C9E4-DEA1-2E9C-FC67-6A4B3C700A88}"/>
              </a:ext>
            </a:extLst>
          </p:cNvPr>
          <p:cNvSpPr/>
          <p:nvPr userDrawn="1"/>
        </p:nvSpPr>
        <p:spPr>
          <a:xfrm>
            <a:off x="245178" y="3817803"/>
            <a:ext cx="2398847" cy="2398847"/>
          </a:xfrm>
          <a:prstGeom prst="ellipse">
            <a:avLst/>
          </a:prstGeom>
          <a:solidFill>
            <a:srgbClr val="F46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1FD21CF0-8B64-28CD-3AED-D44ED776FC9F}"/>
              </a:ext>
            </a:extLst>
          </p:cNvPr>
          <p:cNvSpPr/>
          <p:nvPr userDrawn="1"/>
        </p:nvSpPr>
        <p:spPr>
          <a:xfrm>
            <a:off x="914400" y="1857271"/>
            <a:ext cx="5067300" cy="3145834"/>
          </a:xfrm>
          <a:prstGeom prst="roundRect">
            <a:avLst>
              <a:gd name="adj" fmla="val 771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8100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1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86585591-BA78-5F86-74B4-C6BBAFFD1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949" y="2124501"/>
            <a:ext cx="4184649" cy="1281113"/>
          </a:xfrm>
        </p:spPr>
        <p:txBody>
          <a:bodyPr>
            <a:noAutofit/>
          </a:bodyPr>
          <a:lstStyle>
            <a:lvl1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3600" b="1" i="0" u="none" strike="noStrike" cap="none" spc="-100" baseline="0" dirty="0">
                <a:solidFill>
                  <a:schemeClr val="accent1"/>
                </a:solidFill>
                <a:latin typeface="+mj-lt"/>
                <a:ea typeface="Arial"/>
                <a:cs typeface="Arial"/>
                <a:sym typeface="Arial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9BFCA3B0-88F8-CAC6-A24A-936EBBE34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92950" y="3817938"/>
            <a:ext cx="4184650" cy="1176337"/>
          </a:xfrm>
        </p:spPr>
        <p:txBody>
          <a:bodyPr>
            <a:normAutofit/>
          </a:bodyPr>
          <a:lstStyle>
            <a:lvl1pPr marR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200" b="0" i="0" u="none" strike="noStrike" cap="none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637AC9F0-E48A-ACAF-2021-2D19AFEAF8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92950" y="1729890"/>
            <a:ext cx="4184650" cy="347663"/>
          </a:xfrm>
        </p:spPr>
        <p:txBody>
          <a:bodyPr>
            <a:normAutofit/>
          </a:bodyPr>
          <a:lstStyle>
            <a:lvl1pPr marR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pt-BR" sz="1100" b="0" i="0" u="none" strike="noStrike" cap="all" spc="1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  <a:cs typeface="Arial"/>
                <a:sym typeface="Arial"/>
              </a:defRPr>
            </a:lvl1pPr>
          </a:lstStyle>
          <a:p>
            <a:pPr lvl="0"/>
            <a:r>
              <a:rPr lang="pt-BR"/>
              <a:t>Clique para editar o texto</a:t>
            </a:r>
          </a:p>
        </p:txBody>
      </p:sp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525D5F98-DDB4-B94B-66E6-7FC4458751D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09663" y="2090738"/>
            <a:ext cx="4676775" cy="2674937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1877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50" Type="http://schemas.openxmlformats.org/officeDocument/2006/relationships/image" Target="../media/image8.svg"/><Relationship Id="rId55" Type="http://schemas.openxmlformats.org/officeDocument/2006/relationships/image" Target="../media/image13.svg"/><Relationship Id="rId63" Type="http://schemas.openxmlformats.org/officeDocument/2006/relationships/image" Target="../media/image21.svg"/><Relationship Id="rId68" Type="http://schemas.openxmlformats.org/officeDocument/2006/relationships/image" Target="../media/image26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3.svg"/><Relationship Id="rId53" Type="http://schemas.openxmlformats.org/officeDocument/2006/relationships/image" Target="../media/image11.svg"/><Relationship Id="rId58" Type="http://schemas.openxmlformats.org/officeDocument/2006/relationships/image" Target="../media/image16.svg"/><Relationship Id="rId66" Type="http://schemas.openxmlformats.org/officeDocument/2006/relationships/image" Target="../media/image24.svg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9.sv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48" Type="http://schemas.openxmlformats.org/officeDocument/2006/relationships/image" Target="../media/image6.svg"/><Relationship Id="rId56" Type="http://schemas.openxmlformats.org/officeDocument/2006/relationships/image" Target="../media/image14.svg"/><Relationship Id="rId64" Type="http://schemas.openxmlformats.org/officeDocument/2006/relationships/image" Target="../media/image22.sv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9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4.svg"/><Relationship Id="rId59" Type="http://schemas.openxmlformats.org/officeDocument/2006/relationships/image" Target="../media/image17.svg"/><Relationship Id="rId67" Type="http://schemas.openxmlformats.org/officeDocument/2006/relationships/image" Target="../media/image25.sv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.xml"/><Relationship Id="rId54" Type="http://schemas.openxmlformats.org/officeDocument/2006/relationships/image" Target="../media/image12.svg"/><Relationship Id="rId62" Type="http://schemas.openxmlformats.org/officeDocument/2006/relationships/image" Target="../media/image20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7.svg"/><Relationship Id="rId57" Type="http://schemas.openxmlformats.org/officeDocument/2006/relationships/image" Target="../media/image15.sv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svg"/><Relationship Id="rId52" Type="http://schemas.openxmlformats.org/officeDocument/2006/relationships/image" Target="../media/image10.svg"/><Relationship Id="rId60" Type="http://schemas.openxmlformats.org/officeDocument/2006/relationships/image" Target="../media/image18.svg"/><Relationship Id="rId65" Type="http://schemas.openxmlformats.org/officeDocument/2006/relationships/image" Target="../media/image2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image" Target="../media/image8.svg"/><Relationship Id="rId21" Type="http://schemas.openxmlformats.org/officeDocument/2006/relationships/slideLayout" Target="../slideLayouts/slideLayout60.xml"/><Relationship Id="rId34" Type="http://schemas.openxmlformats.org/officeDocument/2006/relationships/image" Target="../media/image3.svg"/><Relationship Id="rId42" Type="http://schemas.openxmlformats.org/officeDocument/2006/relationships/image" Target="../media/image11.svg"/><Relationship Id="rId47" Type="http://schemas.openxmlformats.org/officeDocument/2006/relationships/image" Target="../media/image16.svg"/><Relationship Id="rId50" Type="http://schemas.openxmlformats.org/officeDocument/2006/relationships/image" Target="../media/image19.svg"/><Relationship Id="rId55" Type="http://schemas.openxmlformats.org/officeDocument/2006/relationships/image" Target="../media/image24.svg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9" Type="http://schemas.openxmlformats.org/officeDocument/2006/relationships/theme" Target="../theme/theme2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image" Target="../media/image1.emf"/><Relationship Id="rId37" Type="http://schemas.openxmlformats.org/officeDocument/2006/relationships/image" Target="../media/image6.svg"/><Relationship Id="rId40" Type="http://schemas.openxmlformats.org/officeDocument/2006/relationships/image" Target="../media/image9.svg"/><Relationship Id="rId45" Type="http://schemas.openxmlformats.org/officeDocument/2006/relationships/image" Target="../media/image14.svg"/><Relationship Id="rId53" Type="http://schemas.openxmlformats.org/officeDocument/2006/relationships/image" Target="../media/image22.svg"/><Relationship Id="rId5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tags" Target="../tags/tag5.xml"/><Relationship Id="rId35" Type="http://schemas.openxmlformats.org/officeDocument/2006/relationships/image" Target="../media/image4.svg"/><Relationship Id="rId43" Type="http://schemas.openxmlformats.org/officeDocument/2006/relationships/image" Target="../media/image12.svg"/><Relationship Id="rId48" Type="http://schemas.openxmlformats.org/officeDocument/2006/relationships/image" Target="../media/image17.svg"/><Relationship Id="rId56" Type="http://schemas.openxmlformats.org/officeDocument/2006/relationships/image" Target="../media/image25.svg"/><Relationship Id="rId8" Type="http://schemas.openxmlformats.org/officeDocument/2006/relationships/slideLayout" Target="../slideLayouts/slideLayout47.xml"/><Relationship Id="rId51" Type="http://schemas.openxmlformats.org/officeDocument/2006/relationships/image" Target="../media/image20.svg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image" Target="../media/image2.svg"/><Relationship Id="rId38" Type="http://schemas.openxmlformats.org/officeDocument/2006/relationships/image" Target="../media/image7.svg"/><Relationship Id="rId46" Type="http://schemas.openxmlformats.org/officeDocument/2006/relationships/image" Target="../media/image15.svg"/><Relationship Id="rId20" Type="http://schemas.openxmlformats.org/officeDocument/2006/relationships/slideLayout" Target="../slideLayouts/slideLayout59.xml"/><Relationship Id="rId41" Type="http://schemas.openxmlformats.org/officeDocument/2006/relationships/image" Target="../media/image10.svg"/><Relationship Id="rId54" Type="http://schemas.openxmlformats.org/officeDocument/2006/relationships/image" Target="../media/image23.sv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image" Target="../media/image5.svg"/><Relationship Id="rId49" Type="http://schemas.openxmlformats.org/officeDocument/2006/relationships/image" Target="../media/image18.svg"/><Relationship Id="rId57" Type="http://schemas.openxmlformats.org/officeDocument/2006/relationships/image" Target="../media/image26.svg"/><Relationship Id="rId10" Type="http://schemas.openxmlformats.org/officeDocument/2006/relationships/slideLayout" Target="../slideLayouts/slideLayout49.xml"/><Relationship Id="rId31" Type="http://schemas.openxmlformats.org/officeDocument/2006/relationships/oleObject" Target="../embeddings/oleObject4.bin"/><Relationship Id="rId44" Type="http://schemas.openxmlformats.org/officeDocument/2006/relationships/image" Target="../media/image13.svg"/><Relationship Id="rId52" Type="http://schemas.openxmlformats.org/officeDocument/2006/relationships/image" Target="../media/image21.sv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slideLayout" Target="../slideLayouts/slideLayout93.xml"/><Relationship Id="rId39" Type="http://schemas.openxmlformats.org/officeDocument/2006/relationships/image" Target="../media/image8.svg"/><Relationship Id="rId21" Type="http://schemas.openxmlformats.org/officeDocument/2006/relationships/slideLayout" Target="../slideLayouts/slideLayout88.xml"/><Relationship Id="rId34" Type="http://schemas.openxmlformats.org/officeDocument/2006/relationships/image" Target="../media/image3.svg"/><Relationship Id="rId42" Type="http://schemas.openxmlformats.org/officeDocument/2006/relationships/image" Target="../media/image11.svg"/><Relationship Id="rId47" Type="http://schemas.openxmlformats.org/officeDocument/2006/relationships/image" Target="../media/image16.svg"/><Relationship Id="rId50" Type="http://schemas.openxmlformats.org/officeDocument/2006/relationships/image" Target="../media/image19.svg"/><Relationship Id="rId55" Type="http://schemas.openxmlformats.org/officeDocument/2006/relationships/image" Target="../media/image24.svg"/><Relationship Id="rId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9" Type="http://schemas.openxmlformats.org/officeDocument/2006/relationships/theme" Target="../theme/theme3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32" Type="http://schemas.openxmlformats.org/officeDocument/2006/relationships/image" Target="../media/image1.emf"/><Relationship Id="rId37" Type="http://schemas.openxmlformats.org/officeDocument/2006/relationships/image" Target="../media/image6.svg"/><Relationship Id="rId40" Type="http://schemas.openxmlformats.org/officeDocument/2006/relationships/image" Target="../media/image9.svg"/><Relationship Id="rId45" Type="http://schemas.openxmlformats.org/officeDocument/2006/relationships/image" Target="../media/image14.svg"/><Relationship Id="rId53" Type="http://schemas.openxmlformats.org/officeDocument/2006/relationships/image" Target="../media/image22.svg"/><Relationship Id="rId5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6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slideLayout" Target="../slideLayouts/slideLayout94.xml"/><Relationship Id="rId30" Type="http://schemas.openxmlformats.org/officeDocument/2006/relationships/tags" Target="../tags/tag7.xml"/><Relationship Id="rId35" Type="http://schemas.openxmlformats.org/officeDocument/2006/relationships/image" Target="../media/image4.svg"/><Relationship Id="rId43" Type="http://schemas.openxmlformats.org/officeDocument/2006/relationships/image" Target="../media/image12.svg"/><Relationship Id="rId48" Type="http://schemas.openxmlformats.org/officeDocument/2006/relationships/image" Target="../media/image17.svg"/><Relationship Id="rId56" Type="http://schemas.openxmlformats.org/officeDocument/2006/relationships/image" Target="../media/image25.svg"/><Relationship Id="rId8" Type="http://schemas.openxmlformats.org/officeDocument/2006/relationships/slideLayout" Target="../slideLayouts/slideLayout75.xml"/><Relationship Id="rId51" Type="http://schemas.openxmlformats.org/officeDocument/2006/relationships/image" Target="../media/image20.svg"/><Relationship Id="rId3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33" Type="http://schemas.openxmlformats.org/officeDocument/2006/relationships/image" Target="../media/image2.svg"/><Relationship Id="rId38" Type="http://schemas.openxmlformats.org/officeDocument/2006/relationships/image" Target="../media/image7.svg"/><Relationship Id="rId46" Type="http://schemas.openxmlformats.org/officeDocument/2006/relationships/image" Target="../media/image15.svg"/><Relationship Id="rId20" Type="http://schemas.openxmlformats.org/officeDocument/2006/relationships/slideLayout" Target="../slideLayouts/slideLayout87.xml"/><Relationship Id="rId41" Type="http://schemas.openxmlformats.org/officeDocument/2006/relationships/image" Target="../media/image10.svg"/><Relationship Id="rId54" Type="http://schemas.openxmlformats.org/officeDocument/2006/relationships/image" Target="../media/image23.svg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slideLayout" Target="../slideLayouts/slideLayout95.xml"/><Relationship Id="rId36" Type="http://schemas.openxmlformats.org/officeDocument/2006/relationships/image" Target="../media/image5.svg"/><Relationship Id="rId49" Type="http://schemas.openxmlformats.org/officeDocument/2006/relationships/image" Target="../media/image18.svg"/><Relationship Id="rId57" Type="http://schemas.openxmlformats.org/officeDocument/2006/relationships/image" Target="../media/image26.svg"/><Relationship Id="rId10" Type="http://schemas.openxmlformats.org/officeDocument/2006/relationships/slideLayout" Target="../slideLayouts/slideLayout77.xml"/><Relationship Id="rId31" Type="http://schemas.openxmlformats.org/officeDocument/2006/relationships/oleObject" Target="../embeddings/oleObject6.bin"/><Relationship Id="rId44" Type="http://schemas.openxmlformats.org/officeDocument/2006/relationships/image" Target="../media/image13.svg"/><Relationship Id="rId52" Type="http://schemas.openxmlformats.org/officeDocument/2006/relationships/image" Target="../media/image21.svg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1.xml"/><Relationship Id="rId21" Type="http://schemas.openxmlformats.org/officeDocument/2006/relationships/slideLayout" Target="../slideLayouts/slideLayout116.xml"/><Relationship Id="rId42" Type="http://schemas.openxmlformats.org/officeDocument/2006/relationships/tags" Target="../tags/tag8.xml"/><Relationship Id="rId47" Type="http://schemas.openxmlformats.org/officeDocument/2006/relationships/image" Target="../media/image4.svg"/><Relationship Id="rId63" Type="http://schemas.openxmlformats.org/officeDocument/2006/relationships/image" Target="../media/image20.svg"/><Relationship Id="rId68" Type="http://schemas.openxmlformats.org/officeDocument/2006/relationships/image" Target="../media/image25.svg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19.xml"/><Relationship Id="rId32" Type="http://schemas.openxmlformats.org/officeDocument/2006/relationships/slideLayout" Target="../slideLayouts/slideLayout127.xml"/><Relationship Id="rId37" Type="http://schemas.openxmlformats.org/officeDocument/2006/relationships/slideLayout" Target="../slideLayouts/slideLayout132.xml"/><Relationship Id="rId40" Type="http://schemas.openxmlformats.org/officeDocument/2006/relationships/slideLayout" Target="../slideLayouts/slideLayout135.xml"/><Relationship Id="rId45" Type="http://schemas.openxmlformats.org/officeDocument/2006/relationships/image" Target="../media/image2.svg"/><Relationship Id="rId53" Type="http://schemas.openxmlformats.org/officeDocument/2006/relationships/image" Target="../media/image10.svg"/><Relationship Id="rId58" Type="http://schemas.openxmlformats.org/officeDocument/2006/relationships/image" Target="../media/image15.svg"/><Relationship Id="rId66" Type="http://schemas.openxmlformats.org/officeDocument/2006/relationships/image" Target="../media/image23.svg"/><Relationship Id="rId5" Type="http://schemas.openxmlformats.org/officeDocument/2006/relationships/slideLayout" Target="../slideLayouts/slideLayout100.xml"/><Relationship Id="rId61" Type="http://schemas.openxmlformats.org/officeDocument/2006/relationships/image" Target="../media/image18.svg"/><Relationship Id="rId1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117.xml"/><Relationship Id="rId27" Type="http://schemas.openxmlformats.org/officeDocument/2006/relationships/slideLayout" Target="../slideLayouts/slideLayout122.xml"/><Relationship Id="rId30" Type="http://schemas.openxmlformats.org/officeDocument/2006/relationships/slideLayout" Target="../slideLayouts/slideLayout125.xml"/><Relationship Id="rId35" Type="http://schemas.openxmlformats.org/officeDocument/2006/relationships/slideLayout" Target="../slideLayouts/slideLayout130.xml"/><Relationship Id="rId43" Type="http://schemas.openxmlformats.org/officeDocument/2006/relationships/oleObject" Target="../embeddings/oleObject1.bin"/><Relationship Id="rId48" Type="http://schemas.openxmlformats.org/officeDocument/2006/relationships/image" Target="../media/image5.svg"/><Relationship Id="rId56" Type="http://schemas.openxmlformats.org/officeDocument/2006/relationships/image" Target="../media/image13.svg"/><Relationship Id="rId64" Type="http://schemas.openxmlformats.org/officeDocument/2006/relationships/image" Target="../media/image21.svg"/><Relationship Id="rId69" Type="http://schemas.openxmlformats.org/officeDocument/2006/relationships/image" Target="../media/image26.svg"/><Relationship Id="rId8" Type="http://schemas.openxmlformats.org/officeDocument/2006/relationships/slideLayout" Target="../slideLayouts/slideLayout103.xml"/><Relationship Id="rId51" Type="http://schemas.openxmlformats.org/officeDocument/2006/relationships/image" Target="../media/image8.svg"/><Relationship Id="rId3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20.xml"/><Relationship Id="rId33" Type="http://schemas.openxmlformats.org/officeDocument/2006/relationships/slideLayout" Target="../slideLayouts/slideLayout128.xml"/><Relationship Id="rId38" Type="http://schemas.openxmlformats.org/officeDocument/2006/relationships/slideLayout" Target="../slideLayouts/slideLayout133.xml"/><Relationship Id="rId46" Type="http://schemas.openxmlformats.org/officeDocument/2006/relationships/image" Target="../media/image3.svg"/><Relationship Id="rId59" Type="http://schemas.openxmlformats.org/officeDocument/2006/relationships/image" Target="../media/image16.svg"/><Relationship Id="rId67" Type="http://schemas.openxmlformats.org/officeDocument/2006/relationships/image" Target="../media/image24.svg"/><Relationship Id="rId20" Type="http://schemas.openxmlformats.org/officeDocument/2006/relationships/slideLayout" Target="../slideLayouts/slideLayout115.xml"/><Relationship Id="rId41" Type="http://schemas.openxmlformats.org/officeDocument/2006/relationships/theme" Target="../theme/theme4.xml"/><Relationship Id="rId54" Type="http://schemas.openxmlformats.org/officeDocument/2006/relationships/image" Target="../media/image11.svg"/><Relationship Id="rId62" Type="http://schemas.openxmlformats.org/officeDocument/2006/relationships/image" Target="../media/image19.svg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0.xml"/><Relationship Id="rId23" Type="http://schemas.openxmlformats.org/officeDocument/2006/relationships/slideLayout" Target="../slideLayouts/slideLayout118.xml"/><Relationship Id="rId28" Type="http://schemas.openxmlformats.org/officeDocument/2006/relationships/slideLayout" Target="../slideLayouts/slideLayout123.xml"/><Relationship Id="rId36" Type="http://schemas.openxmlformats.org/officeDocument/2006/relationships/slideLayout" Target="../slideLayouts/slideLayout131.xml"/><Relationship Id="rId49" Type="http://schemas.openxmlformats.org/officeDocument/2006/relationships/image" Target="../media/image6.svg"/><Relationship Id="rId57" Type="http://schemas.openxmlformats.org/officeDocument/2006/relationships/image" Target="../media/image14.svg"/><Relationship Id="rId10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26.xml"/><Relationship Id="rId44" Type="http://schemas.openxmlformats.org/officeDocument/2006/relationships/image" Target="../media/image1.emf"/><Relationship Id="rId52" Type="http://schemas.openxmlformats.org/officeDocument/2006/relationships/image" Target="../media/image9.svg"/><Relationship Id="rId60" Type="http://schemas.openxmlformats.org/officeDocument/2006/relationships/image" Target="../media/image17.svg"/><Relationship Id="rId65" Type="http://schemas.openxmlformats.org/officeDocument/2006/relationships/image" Target="../media/image22.svg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34.xml"/><Relationship Id="rId34" Type="http://schemas.openxmlformats.org/officeDocument/2006/relationships/slideLayout" Target="../slideLayouts/slideLayout129.xml"/><Relationship Id="rId50" Type="http://schemas.openxmlformats.org/officeDocument/2006/relationships/image" Target="../media/image7.svg"/><Relationship Id="rId55" Type="http://schemas.openxmlformats.org/officeDocument/2006/relationships/image" Target="../media/image1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Gray">
      <p:bgPr>
        <a:solidFill>
          <a:srgbClr val="F3F5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35B6F9-052D-01EC-95D7-2A59F7A5C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31298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2" imgW="425" imgH="424" progId="TCLayout.ActiveDocument.1">
                  <p:embed/>
                </p:oleObj>
              </mc:Choice>
              <mc:Fallback>
                <p:oleObj name="Slide do think-cell" r:id="rId42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35B6F9-052D-01EC-95D7-2A59F7A5C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1375562-E38E-3A5D-DD5E-76EE13574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1037"/>
            <a:ext cx="10363200" cy="128111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9C89F05-6560-FB4B-012E-55287B7FDE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2090738"/>
            <a:ext cx="10363200" cy="40862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Segundo nível</a:t>
            </a:r>
          </a:p>
          <a:p>
            <a:pPr marL="792000" marR="0" lvl="2" indent="-2880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4"/>
                    </a:ext>
                  </a:extLst>
                </a:blip>
              </a:buBlip>
              <a:tabLst/>
              <a:defRPr/>
            </a:pPr>
            <a:endParaRPr lang="pt-BR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BF552152-09DD-4754-E8EA-28C8CDC581E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"/>
            <a:ext cx="711200" cy="542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45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61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112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45BB3BD-7CE9-F565-F21C-426C7596E71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621506"/>
            <a:ext cx="711200" cy="533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244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97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77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F7F9F265-89D1-78AC-55E6-238CE5D4A1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233488"/>
            <a:ext cx="711200" cy="542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900" b="1">
                <a:solidFill>
                  <a:schemeClr val="bg1"/>
                </a:solidFill>
              </a:rPr>
              <a:t>R 176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G 183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B 193</a:t>
            </a:r>
          </a:p>
        </p:txBody>
      </p:sp>
      <p:pic>
        <p:nvPicPr>
          <p:cNvPr id="27" name="Gráfico 26">
            <a:extLst>
              <a:ext uri="{FF2B5EF4-FFF2-40B4-BE49-F238E27FC236}">
                <a16:creationId xmlns:a16="http://schemas.microsoft.com/office/drawing/2014/main" id="{31F32912-5504-1525-E4B7-761D37AF19E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-806451" y="2343150"/>
            <a:ext cx="711200" cy="417743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6CA5DEA4-EEAB-3449-C3DD-83C8AC4487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-806451" y="2760893"/>
            <a:ext cx="711200" cy="334885"/>
          </a:xfrm>
          <a:prstGeom prst="rect">
            <a:avLst/>
          </a:prstGeom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B90C53BE-8249-C3B9-7787-556D2CC1322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-233348" y="3254590"/>
            <a:ext cx="138097" cy="162264"/>
          </a:xfrm>
          <a:prstGeom prst="rect">
            <a:avLst/>
          </a:prstGeom>
        </p:spPr>
      </p:pic>
      <p:pic>
        <p:nvPicPr>
          <p:cNvPr id="14" name="Gráfico 13" descr="Matérias primas estrutura de tópicos">
            <a:extLst>
              <a:ext uri="{FF2B5EF4-FFF2-40B4-BE49-F238E27FC236}">
                <a16:creationId xmlns:a16="http://schemas.microsoft.com/office/drawing/2014/main" id="{8AD833E9-22C0-601A-0AE3-555FB8C3757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4457074" y="2993159"/>
            <a:ext cx="242954" cy="242954"/>
          </a:xfrm>
          <a:prstGeom prst="rect">
            <a:avLst/>
          </a:prstGeom>
        </p:spPr>
      </p:pic>
      <p:pic>
        <p:nvPicPr>
          <p:cNvPr id="15" name="Gráfico 14" descr="Ferramentas de mineração estrutura de tópicos">
            <a:extLst>
              <a:ext uri="{FF2B5EF4-FFF2-40B4-BE49-F238E27FC236}">
                <a16:creationId xmlns:a16="http://schemas.microsoft.com/office/drawing/2014/main" id="{CCA2FCD9-F510-D80C-4745-0BF4C8EDB2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4742849" y="2121862"/>
            <a:ext cx="242952" cy="242952"/>
          </a:xfrm>
          <a:prstGeom prst="rect">
            <a:avLst/>
          </a:prstGeom>
        </p:spPr>
      </p:pic>
      <p:pic>
        <p:nvPicPr>
          <p:cNvPr id="16" name="Gráfico 15" descr="Giroteodolito estrutura de tópicos">
            <a:extLst>
              <a:ext uri="{FF2B5EF4-FFF2-40B4-BE49-F238E27FC236}">
                <a16:creationId xmlns:a16="http://schemas.microsoft.com/office/drawing/2014/main" id="{F0FBC73D-E02E-FE83-D5BA-3DC8280E30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3805097" y="1382027"/>
            <a:ext cx="283735" cy="283735"/>
          </a:xfrm>
          <a:prstGeom prst="rect">
            <a:avLst/>
          </a:prstGeom>
        </p:spPr>
      </p:pic>
      <p:pic>
        <p:nvPicPr>
          <p:cNvPr id="17" name="Gráfico 16" descr="Trabalho estrutura de tópicos">
            <a:extLst>
              <a:ext uri="{FF2B5EF4-FFF2-40B4-BE49-F238E27FC236}">
                <a16:creationId xmlns:a16="http://schemas.microsoft.com/office/drawing/2014/main" id="{32532361-509B-7A46-B1D7-55CBC5498FC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3459014" y="2272264"/>
            <a:ext cx="242952" cy="242952"/>
          </a:xfrm>
          <a:prstGeom prst="rect">
            <a:avLst/>
          </a:prstGeom>
        </p:spPr>
      </p:pic>
      <p:pic>
        <p:nvPicPr>
          <p:cNvPr id="18" name="Gráfico 17" descr="Mapa da topografia estrutura de tópicos">
            <a:extLst>
              <a:ext uri="{FF2B5EF4-FFF2-40B4-BE49-F238E27FC236}">
                <a16:creationId xmlns:a16="http://schemas.microsoft.com/office/drawing/2014/main" id="{1BDC512B-4ED3-961D-76C0-58A033B4863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3383978" y="5325046"/>
            <a:ext cx="214270" cy="214270"/>
          </a:xfrm>
          <a:prstGeom prst="rect">
            <a:avLst/>
          </a:prstGeom>
        </p:spPr>
      </p:pic>
      <p:pic>
        <p:nvPicPr>
          <p:cNvPr id="19" name="Gráfico 18" descr="Caminhão de lixo estrutura de tópicos">
            <a:extLst>
              <a:ext uri="{FF2B5EF4-FFF2-40B4-BE49-F238E27FC236}">
                <a16:creationId xmlns:a16="http://schemas.microsoft.com/office/drawing/2014/main" id="{71A9711F-F456-49EE-5BF2-E847298745B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3596049" y="1112339"/>
            <a:ext cx="211834" cy="211834"/>
          </a:xfrm>
          <a:prstGeom prst="rect">
            <a:avLst/>
          </a:prstGeom>
        </p:spPr>
      </p:pic>
      <p:pic>
        <p:nvPicPr>
          <p:cNvPr id="20" name="Gráfico 19" descr="Área de Transferência estrutura de tópicos">
            <a:extLst>
              <a:ext uri="{FF2B5EF4-FFF2-40B4-BE49-F238E27FC236}">
                <a16:creationId xmlns:a16="http://schemas.microsoft.com/office/drawing/2014/main" id="{0B7D5D2B-E920-5228-5D71-03FA4EC24AB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2940699" y="5716455"/>
            <a:ext cx="199733" cy="199733"/>
          </a:xfrm>
          <a:prstGeom prst="rect">
            <a:avLst/>
          </a:prstGeom>
        </p:spPr>
      </p:pic>
      <p:pic>
        <p:nvPicPr>
          <p:cNvPr id="21" name="Gráfico 20" descr="Área de Transferência Marcada estrutura de tópicos">
            <a:extLst>
              <a:ext uri="{FF2B5EF4-FFF2-40B4-BE49-F238E27FC236}">
                <a16:creationId xmlns:a16="http://schemas.microsoft.com/office/drawing/2014/main" id="{F1D20945-8D16-40DE-2D51-2B7423C50A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4804579" y="3454273"/>
            <a:ext cx="274845" cy="274845"/>
          </a:xfrm>
          <a:prstGeom prst="rect">
            <a:avLst/>
          </a:prstGeom>
        </p:spPr>
      </p:pic>
      <p:pic>
        <p:nvPicPr>
          <p:cNvPr id="22" name="Gráfico 21" descr="Bússola estrutura de tópicos">
            <a:extLst>
              <a:ext uri="{FF2B5EF4-FFF2-40B4-BE49-F238E27FC236}">
                <a16:creationId xmlns:a16="http://schemas.microsoft.com/office/drawing/2014/main" id="{6C420177-92AA-84B7-F0A4-24F84B8716C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 flipH="1">
            <a:off x="14776828" y="3143563"/>
            <a:ext cx="274844" cy="274844"/>
          </a:xfrm>
          <a:prstGeom prst="rect">
            <a:avLst/>
          </a:prstGeom>
        </p:spPr>
      </p:pic>
      <p:pic>
        <p:nvPicPr>
          <p:cNvPr id="23" name="Gráfico 22" descr="Cristais estrutura de tópicos">
            <a:extLst>
              <a:ext uri="{FF2B5EF4-FFF2-40B4-BE49-F238E27FC236}">
                <a16:creationId xmlns:a16="http://schemas.microsoft.com/office/drawing/2014/main" id="{132D3788-0ED4-1DB7-6F66-701745F129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3302357" y="4851361"/>
            <a:ext cx="271075" cy="271075"/>
          </a:xfrm>
          <a:prstGeom prst="rect">
            <a:avLst/>
          </a:prstGeom>
        </p:spPr>
      </p:pic>
      <p:pic>
        <p:nvPicPr>
          <p:cNvPr id="24" name="Gráfico 23" descr="Trem de brinquedo estrutura de tópicos">
            <a:extLst>
              <a:ext uri="{FF2B5EF4-FFF2-40B4-BE49-F238E27FC236}">
                <a16:creationId xmlns:a16="http://schemas.microsoft.com/office/drawing/2014/main" id="{4C7606AE-ED0D-B3B7-E088-85E82B0974E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4114976" y="701726"/>
            <a:ext cx="211834" cy="211834"/>
          </a:xfrm>
          <a:prstGeom prst="rect">
            <a:avLst/>
          </a:prstGeom>
        </p:spPr>
      </p:pic>
      <p:pic>
        <p:nvPicPr>
          <p:cNvPr id="25" name="Gráfico 24" descr="Carrinho de mão estrutura de tópicos">
            <a:extLst>
              <a:ext uri="{FF2B5EF4-FFF2-40B4-BE49-F238E27FC236}">
                <a16:creationId xmlns:a16="http://schemas.microsoft.com/office/drawing/2014/main" id="{0BDD9D82-3131-3A33-2A53-896A4B66325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3714980" y="500417"/>
            <a:ext cx="293859" cy="293859"/>
          </a:xfrm>
          <a:prstGeom prst="rect">
            <a:avLst/>
          </a:prstGeom>
        </p:spPr>
      </p:pic>
      <p:pic>
        <p:nvPicPr>
          <p:cNvPr id="26" name="Gráfico 25" descr="Barras de ouro estrutura de tópicos">
            <a:extLst>
              <a:ext uri="{FF2B5EF4-FFF2-40B4-BE49-F238E27FC236}">
                <a16:creationId xmlns:a16="http://schemas.microsoft.com/office/drawing/2014/main" id="{8E3FCE5E-2E30-1A9B-329F-E68142982B5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14888604" y="2573070"/>
            <a:ext cx="242953" cy="242953"/>
          </a:xfrm>
          <a:prstGeom prst="rect">
            <a:avLst/>
          </a:prstGeom>
        </p:spPr>
      </p:pic>
      <p:pic>
        <p:nvPicPr>
          <p:cNvPr id="28" name="Gráfico 27" descr="Pote de ouro estrutura de tópicos">
            <a:extLst>
              <a:ext uri="{FF2B5EF4-FFF2-40B4-BE49-F238E27FC236}">
                <a16:creationId xmlns:a16="http://schemas.microsoft.com/office/drawing/2014/main" id="{CF9EE902-47A5-5A68-7DA4-26052033AE0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3325342" y="821010"/>
            <a:ext cx="255463" cy="255463"/>
          </a:xfrm>
          <a:prstGeom prst="rect">
            <a:avLst/>
          </a:prstGeom>
        </p:spPr>
      </p:pic>
      <p:pic>
        <p:nvPicPr>
          <p:cNvPr id="30" name="Gráfico 29" descr="Mapa do tesouro estrutura de tópicos">
            <a:extLst>
              <a:ext uri="{FF2B5EF4-FFF2-40B4-BE49-F238E27FC236}">
                <a16:creationId xmlns:a16="http://schemas.microsoft.com/office/drawing/2014/main" id="{01F3B905-75F9-0EED-E25B-960161825AA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4240517" y="4579957"/>
            <a:ext cx="220966" cy="220966"/>
          </a:xfrm>
          <a:prstGeom prst="rect">
            <a:avLst/>
          </a:prstGeom>
        </p:spPr>
      </p:pic>
      <p:pic>
        <p:nvPicPr>
          <p:cNvPr id="32" name="Gráfico 31" descr="Mapa com alfinete estrutura de tópicos">
            <a:extLst>
              <a:ext uri="{FF2B5EF4-FFF2-40B4-BE49-F238E27FC236}">
                <a16:creationId xmlns:a16="http://schemas.microsoft.com/office/drawing/2014/main" id="{B2220691-CCCA-00DE-BDC0-2065FABC5A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4339112" y="4116238"/>
            <a:ext cx="242953" cy="242953"/>
          </a:xfrm>
          <a:prstGeom prst="rect">
            <a:avLst/>
          </a:prstGeom>
        </p:spPr>
      </p:pic>
      <p:pic>
        <p:nvPicPr>
          <p:cNvPr id="33" name="Gráfico 32" descr="Trilhos de trem estrutura de tópicos">
            <a:extLst>
              <a:ext uri="{FF2B5EF4-FFF2-40B4-BE49-F238E27FC236}">
                <a16:creationId xmlns:a16="http://schemas.microsoft.com/office/drawing/2014/main" id="{29AA9D78-A40F-A0D5-94D8-EDF382D77D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4870878" y="2842757"/>
            <a:ext cx="242952" cy="242952"/>
          </a:xfrm>
          <a:prstGeom prst="rect">
            <a:avLst/>
          </a:prstGeom>
        </p:spPr>
      </p:pic>
      <p:pic>
        <p:nvPicPr>
          <p:cNvPr id="34" name="Gráfico 33" descr="Globo estrutura de tópicos">
            <a:extLst>
              <a:ext uri="{FF2B5EF4-FFF2-40B4-BE49-F238E27FC236}">
                <a16:creationId xmlns:a16="http://schemas.microsoft.com/office/drawing/2014/main" id="{D27B2EF7-9895-0618-8B6A-E080254CC6B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3577612" y="2422666"/>
            <a:ext cx="242954" cy="242954"/>
          </a:xfrm>
          <a:prstGeom prst="rect">
            <a:avLst/>
          </a:prstGeom>
        </p:spPr>
      </p:pic>
      <p:pic>
        <p:nvPicPr>
          <p:cNvPr id="35" name="Gráfico 34" descr="Mundo estrutura de tópicos">
            <a:extLst>
              <a:ext uri="{FF2B5EF4-FFF2-40B4-BE49-F238E27FC236}">
                <a16:creationId xmlns:a16="http://schemas.microsoft.com/office/drawing/2014/main" id="{6FF17257-CF5D-93EA-7C30-4BA9081BE2E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13567259" y="4417045"/>
            <a:ext cx="255462" cy="255462"/>
          </a:xfrm>
          <a:prstGeom prst="rect">
            <a:avLst/>
          </a:prstGeom>
        </p:spPr>
      </p:pic>
      <p:pic>
        <p:nvPicPr>
          <p:cNvPr id="36" name="Gráfico 35" descr="Bússola de mapa estrutura de tópicos">
            <a:extLst>
              <a:ext uri="{FF2B5EF4-FFF2-40B4-BE49-F238E27FC236}">
                <a16:creationId xmlns:a16="http://schemas.microsoft.com/office/drawing/2014/main" id="{5FAEB632-7EE6-0BF8-FAC3-DEE6E4D053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3946312" y="1725431"/>
            <a:ext cx="306686" cy="306686"/>
          </a:xfrm>
          <a:prstGeom prst="rect">
            <a:avLst/>
          </a:prstGeom>
        </p:spPr>
      </p:pic>
      <p:pic>
        <p:nvPicPr>
          <p:cNvPr id="37" name="Gráfico 36" descr="Cena de estrada estrutura de tópicos">
            <a:extLst>
              <a:ext uri="{FF2B5EF4-FFF2-40B4-BE49-F238E27FC236}">
                <a16:creationId xmlns:a16="http://schemas.microsoft.com/office/drawing/2014/main" id="{2355756D-5A01-3BF7-BB12-9B6B57C60F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 flipH="1">
            <a:off x="14440317" y="3636568"/>
            <a:ext cx="302532" cy="302532"/>
          </a:xfrm>
          <a:prstGeom prst="rect">
            <a:avLst/>
          </a:prstGeom>
        </p:spPr>
      </p:pic>
      <p:pic>
        <p:nvPicPr>
          <p:cNvPr id="38" name="Gráfico 37" descr="Compasso estrutura de tópicos">
            <a:extLst>
              <a:ext uri="{FF2B5EF4-FFF2-40B4-BE49-F238E27FC236}">
                <a16:creationId xmlns:a16="http://schemas.microsoft.com/office/drawing/2014/main" id="{FB18B9E5-4754-08C4-3E89-2B33637D03C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14578550" y="1573212"/>
            <a:ext cx="244769" cy="244769"/>
          </a:xfrm>
          <a:prstGeom prst="rect">
            <a:avLst/>
          </a:prstGeom>
        </p:spPr>
      </p:pic>
      <p:pic>
        <p:nvPicPr>
          <p:cNvPr id="39" name="Gráfico 38" descr="Trilhos de trem estrutura de tópicos">
            <a:extLst>
              <a:ext uri="{FF2B5EF4-FFF2-40B4-BE49-F238E27FC236}">
                <a16:creationId xmlns:a16="http://schemas.microsoft.com/office/drawing/2014/main" id="{C92C70C5-C2A6-A477-EEB8-601B8D205D8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4044071" y="5174644"/>
            <a:ext cx="242952" cy="242952"/>
          </a:xfrm>
          <a:prstGeom prst="rect">
            <a:avLst/>
          </a:prstGeom>
        </p:spPr>
      </p:pic>
      <p:pic>
        <p:nvPicPr>
          <p:cNvPr id="40" name="Gráfico 39" descr="Matérias primas estrutura de tópicos">
            <a:extLst>
              <a:ext uri="{FF2B5EF4-FFF2-40B4-BE49-F238E27FC236}">
                <a16:creationId xmlns:a16="http://schemas.microsoft.com/office/drawing/2014/main" id="{07B5BB62-52E0-DDBD-5DBB-1E49FF58450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4214120" y="1231623"/>
            <a:ext cx="242954" cy="242954"/>
          </a:xfrm>
          <a:prstGeom prst="rect">
            <a:avLst/>
          </a:prstGeom>
        </p:spPr>
      </p:pic>
      <p:pic>
        <p:nvPicPr>
          <p:cNvPr id="41" name="Gráfico 40" descr="Globo estrutura de tópicos">
            <a:extLst>
              <a:ext uri="{FF2B5EF4-FFF2-40B4-BE49-F238E27FC236}">
                <a16:creationId xmlns:a16="http://schemas.microsoft.com/office/drawing/2014/main" id="{9209910A-2692-51DA-CF5A-6C3BF9E6D9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4141174" y="3846550"/>
            <a:ext cx="242954" cy="242954"/>
          </a:xfrm>
          <a:prstGeom prst="rect">
            <a:avLst/>
          </a:prstGeom>
        </p:spPr>
      </p:pic>
      <p:pic>
        <p:nvPicPr>
          <p:cNvPr id="42" name="Gráfico 41" descr="Trem de brinquedo estrutura de tópicos">
            <a:extLst>
              <a:ext uri="{FF2B5EF4-FFF2-40B4-BE49-F238E27FC236}">
                <a16:creationId xmlns:a16="http://schemas.microsoft.com/office/drawing/2014/main" id="{6AF85600-9BD1-3F8C-3267-7560B21775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4265256" y="2723473"/>
            <a:ext cx="211834" cy="211834"/>
          </a:xfrm>
          <a:prstGeom prst="rect">
            <a:avLst/>
          </a:prstGeom>
        </p:spPr>
      </p:pic>
      <p:pic>
        <p:nvPicPr>
          <p:cNvPr id="43" name="Gráfico 42" descr="Matérias primas estrutura de tópicos">
            <a:extLst>
              <a:ext uri="{FF2B5EF4-FFF2-40B4-BE49-F238E27FC236}">
                <a16:creationId xmlns:a16="http://schemas.microsoft.com/office/drawing/2014/main" id="{8D8078A1-4EA2-7541-BFE3-B74B7BF001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3244075" y="5566050"/>
            <a:ext cx="242954" cy="242954"/>
          </a:xfrm>
          <a:prstGeom prst="rect">
            <a:avLst/>
          </a:prstGeom>
        </p:spPr>
      </p:pic>
      <p:pic>
        <p:nvPicPr>
          <p:cNvPr id="44" name="Gráfico 43" descr="Mapa do tesouro estrutura de tópicos">
            <a:extLst>
              <a:ext uri="{FF2B5EF4-FFF2-40B4-BE49-F238E27FC236}">
                <a16:creationId xmlns:a16="http://schemas.microsoft.com/office/drawing/2014/main" id="{7B951DF5-D3BC-6A46-7754-CF43BB05E3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3816433" y="983923"/>
            <a:ext cx="220966" cy="220966"/>
          </a:xfrm>
          <a:prstGeom prst="rect">
            <a:avLst/>
          </a:prstGeom>
        </p:spPr>
      </p:pic>
      <p:pic>
        <p:nvPicPr>
          <p:cNvPr id="45" name="Gráfico 44" descr="Área de Transferência Marcada estrutura de tópicos">
            <a:extLst>
              <a:ext uri="{FF2B5EF4-FFF2-40B4-BE49-F238E27FC236}">
                <a16:creationId xmlns:a16="http://schemas.microsoft.com/office/drawing/2014/main" id="{922D4BC0-55E5-940D-FBC9-7553451F6D0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4386567" y="1939567"/>
            <a:ext cx="274845" cy="274845"/>
          </a:xfrm>
          <a:prstGeom prst="rect">
            <a:avLst/>
          </a:prstGeom>
        </p:spPr>
      </p:pic>
      <p:pic>
        <p:nvPicPr>
          <p:cNvPr id="46" name="Gráfico 45" descr="Trem de brinquedo estrutura de tópicos">
            <a:extLst>
              <a:ext uri="{FF2B5EF4-FFF2-40B4-BE49-F238E27FC236}">
                <a16:creationId xmlns:a16="http://schemas.microsoft.com/office/drawing/2014/main" id="{4E44D481-2ED6-C84D-2C21-2412913B5C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4776828" y="3996954"/>
            <a:ext cx="211834" cy="211834"/>
          </a:xfrm>
          <a:prstGeom prst="rect">
            <a:avLst/>
          </a:prstGeom>
        </p:spPr>
      </p:pic>
      <p:pic>
        <p:nvPicPr>
          <p:cNvPr id="47" name="Gráfico 46" descr="Matérias primas estrutura de tópicos">
            <a:extLst>
              <a:ext uri="{FF2B5EF4-FFF2-40B4-BE49-F238E27FC236}">
                <a16:creationId xmlns:a16="http://schemas.microsoft.com/office/drawing/2014/main" id="{F41F90FD-58E5-06C9-88E1-02EE7679A3D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4477092" y="4266641"/>
            <a:ext cx="242954" cy="242954"/>
          </a:xfrm>
          <a:prstGeom prst="rect">
            <a:avLst/>
          </a:prstGeom>
        </p:spPr>
      </p:pic>
      <p:pic>
        <p:nvPicPr>
          <p:cNvPr id="48" name="Gráfico 47" descr="Mapa do tesouro estrutura de tópicos">
            <a:extLst>
              <a:ext uri="{FF2B5EF4-FFF2-40B4-BE49-F238E27FC236}">
                <a16:creationId xmlns:a16="http://schemas.microsoft.com/office/drawing/2014/main" id="{5A0884C7-11F4-27ED-CAA5-AC6B68E4326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4274679" y="3325857"/>
            <a:ext cx="220966" cy="220966"/>
          </a:xfrm>
          <a:prstGeom prst="rect">
            <a:avLst/>
          </a:prstGeom>
        </p:spPr>
      </p:pic>
      <p:pic>
        <p:nvPicPr>
          <p:cNvPr id="49" name="Gráfico 48" descr="Caminhão de lixo estrutura de tópicos">
            <a:extLst>
              <a:ext uri="{FF2B5EF4-FFF2-40B4-BE49-F238E27FC236}">
                <a16:creationId xmlns:a16="http://schemas.microsoft.com/office/drawing/2014/main" id="{B7AC7C5D-6CC1-8DCD-FFB2-D4571509E89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3037167" y="5446766"/>
            <a:ext cx="211834" cy="211834"/>
          </a:xfrm>
          <a:prstGeom prst="rect">
            <a:avLst/>
          </a:prstGeom>
        </p:spPr>
      </p:pic>
      <p:pic>
        <p:nvPicPr>
          <p:cNvPr id="50" name="Gráfico 49" descr="Bússola estrutura de tópicos">
            <a:extLst>
              <a:ext uri="{FF2B5EF4-FFF2-40B4-BE49-F238E27FC236}">
                <a16:creationId xmlns:a16="http://schemas.microsoft.com/office/drawing/2014/main" id="{828359E1-7125-2FE0-F0C7-5314016A455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 flipH="1">
            <a:off x="13021777" y="5029886"/>
            <a:ext cx="237308" cy="237308"/>
          </a:xfrm>
          <a:prstGeom prst="rect">
            <a:avLst/>
          </a:prstGeom>
        </p:spPr>
      </p:pic>
      <p:pic>
        <p:nvPicPr>
          <p:cNvPr id="51" name="Gráfico 50" descr="Globo estrutura de tópicos">
            <a:extLst>
              <a:ext uri="{FF2B5EF4-FFF2-40B4-BE49-F238E27FC236}">
                <a16:creationId xmlns:a16="http://schemas.microsoft.com/office/drawing/2014/main" id="{C99849C7-4D12-C2B0-FFA0-90637BCC0E3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3959598" y="4708373"/>
            <a:ext cx="235538" cy="235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161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4" r:id="rId2"/>
    <p:sldLayoutId id="2147483705" r:id="rId3"/>
    <p:sldLayoutId id="2147483710" r:id="rId4"/>
    <p:sldLayoutId id="2147483713" r:id="rId5"/>
    <p:sldLayoutId id="2147483714" r:id="rId6"/>
    <p:sldLayoutId id="2147483715" r:id="rId7"/>
    <p:sldLayoutId id="2147483695" r:id="rId8"/>
    <p:sldLayoutId id="2147483703" r:id="rId9"/>
    <p:sldLayoutId id="2147483708" r:id="rId10"/>
    <p:sldLayoutId id="2147483683" r:id="rId11"/>
    <p:sldLayoutId id="2147483702" r:id="rId12"/>
    <p:sldLayoutId id="2147483701" r:id="rId13"/>
    <p:sldLayoutId id="2147483711" r:id="rId14"/>
    <p:sldLayoutId id="2147483696" r:id="rId15"/>
    <p:sldLayoutId id="2147483697" r:id="rId16"/>
    <p:sldLayoutId id="2147483699" r:id="rId17"/>
    <p:sldLayoutId id="2147483684" r:id="rId18"/>
    <p:sldLayoutId id="2147483716" r:id="rId19"/>
    <p:sldLayoutId id="2147483688" r:id="rId20"/>
    <p:sldLayoutId id="2147483685" r:id="rId21"/>
    <p:sldLayoutId id="2147483677" r:id="rId22"/>
    <p:sldLayoutId id="2147483678" r:id="rId23"/>
    <p:sldLayoutId id="2147483712" r:id="rId24"/>
    <p:sldLayoutId id="2147483717" r:id="rId25"/>
    <p:sldLayoutId id="2147483718" r:id="rId26"/>
    <p:sldLayoutId id="2147483676" r:id="rId27"/>
    <p:sldLayoutId id="2147483895" r:id="rId28"/>
    <p:sldLayoutId id="2147483933" r:id="rId29"/>
    <p:sldLayoutId id="2147483934" r:id="rId30"/>
    <p:sldLayoutId id="2147483935" r:id="rId31"/>
    <p:sldLayoutId id="2147483936" r:id="rId32"/>
    <p:sldLayoutId id="2147483938" r:id="rId33"/>
    <p:sldLayoutId id="2147483939" r:id="rId34"/>
    <p:sldLayoutId id="2147483940" r:id="rId35"/>
    <p:sldLayoutId id="2147483941" r:id="rId36"/>
    <p:sldLayoutId id="2147483942" r:id="rId37"/>
    <p:sldLayoutId id="2147484082" r:id="rId38"/>
    <p:sldLayoutId id="2147484083" r:id="rId3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spc="-4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2000"/>
        </a:spcBef>
        <a:spcAft>
          <a:spcPts val="500"/>
        </a:spcAft>
        <a:buFont typeface="Arial" panose="020B0604020202020204" pitchFamily="34" charset="0"/>
        <a:buNone/>
        <a:defRPr sz="17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936000" indent="288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lang="pt-BR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576" userDrawn="1">
          <p15:clr>
            <a:srgbClr val="F26B43"/>
          </p15:clr>
        </p15:guide>
        <p15:guide id="4" pos="988" userDrawn="1">
          <p15:clr>
            <a:srgbClr val="F26B43"/>
          </p15:clr>
        </p15:guide>
        <p15:guide id="5" pos="1141" userDrawn="1">
          <p15:clr>
            <a:srgbClr val="F26B43"/>
          </p15:clr>
        </p15:guide>
        <p15:guide id="6" pos="1544" userDrawn="1">
          <p15:clr>
            <a:srgbClr val="F26B43"/>
          </p15:clr>
        </p15:guide>
        <p15:guide id="7" pos="1688" userDrawn="1">
          <p15:clr>
            <a:srgbClr val="F26B43"/>
          </p15:clr>
        </p15:guide>
        <p15:guide id="8" pos="2100" userDrawn="1">
          <p15:clr>
            <a:srgbClr val="F26B43"/>
          </p15:clr>
        </p15:guide>
        <p15:guide id="9" pos="2244" userDrawn="1">
          <p15:clr>
            <a:srgbClr val="F26B43"/>
          </p15:clr>
        </p15:guide>
        <p15:guide id="10" pos="2656" userDrawn="1">
          <p15:clr>
            <a:srgbClr val="F26B43"/>
          </p15:clr>
        </p15:guide>
        <p15:guide id="11" pos="2800" userDrawn="1">
          <p15:clr>
            <a:srgbClr val="F26B43"/>
          </p15:clr>
        </p15:guide>
        <p15:guide id="12" pos="3212" userDrawn="1">
          <p15:clr>
            <a:srgbClr val="F26B43"/>
          </p15:clr>
        </p15:guide>
        <p15:guide id="13" pos="3356" userDrawn="1">
          <p15:clr>
            <a:srgbClr val="F26B43"/>
          </p15:clr>
        </p15:guide>
        <p15:guide id="14" pos="3768" userDrawn="1">
          <p15:clr>
            <a:srgbClr val="F26B43"/>
          </p15:clr>
        </p15:guide>
        <p15:guide id="15" pos="3912" userDrawn="1">
          <p15:clr>
            <a:srgbClr val="F26B43"/>
          </p15:clr>
        </p15:guide>
        <p15:guide id="16" pos="4324" userDrawn="1">
          <p15:clr>
            <a:srgbClr val="F26B43"/>
          </p15:clr>
        </p15:guide>
        <p15:guide id="17" pos="4468" userDrawn="1">
          <p15:clr>
            <a:srgbClr val="F26B43"/>
          </p15:clr>
        </p15:guide>
        <p15:guide id="18" pos="4880" userDrawn="1">
          <p15:clr>
            <a:srgbClr val="F26B43"/>
          </p15:clr>
        </p15:guide>
        <p15:guide id="19" pos="5024" userDrawn="1">
          <p15:clr>
            <a:srgbClr val="F26B43"/>
          </p15:clr>
        </p15:guide>
        <p15:guide id="20" pos="5436" userDrawn="1">
          <p15:clr>
            <a:srgbClr val="F26B43"/>
          </p15:clr>
        </p15:guide>
        <p15:guide id="21" pos="5580" userDrawn="1">
          <p15:clr>
            <a:srgbClr val="F26B43"/>
          </p15:clr>
        </p15:guide>
        <p15:guide id="22" pos="5992" userDrawn="1">
          <p15:clr>
            <a:srgbClr val="F26B43"/>
          </p15:clr>
        </p15:guide>
        <p15:guide id="23" pos="6136" userDrawn="1">
          <p15:clr>
            <a:srgbClr val="F26B43"/>
          </p15:clr>
        </p15:guide>
        <p15:guide id="24" pos="6548" userDrawn="1">
          <p15:clr>
            <a:srgbClr val="F26B43"/>
          </p15:clr>
        </p15:guide>
        <p15:guide id="25" pos="6692" userDrawn="1">
          <p15:clr>
            <a:srgbClr val="F26B43"/>
          </p15:clr>
        </p15:guide>
        <p15:guide id="26" pos="7104" userDrawn="1">
          <p15:clr>
            <a:srgbClr val="F26B43"/>
          </p15:clr>
        </p15:guide>
        <p15:guide id="27" orient="horz" userDrawn="1">
          <p15:clr>
            <a:srgbClr val="F26B43"/>
          </p15:clr>
        </p15:guide>
        <p15:guide id="28" orient="horz" pos="4320" userDrawn="1">
          <p15:clr>
            <a:srgbClr val="F26B43"/>
          </p15:clr>
        </p15:guide>
        <p15:guide id="29" orient="horz" pos="403" userDrawn="1">
          <p15:clr>
            <a:srgbClr val="F26B43"/>
          </p15:clr>
        </p15:guide>
        <p15:guide id="30" orient="horz" pos="716" userDrawn="1">
          <p15:clr>
            <a:srgbClr val="F26B43"/>
          </p15:clr>
        </p15:guide>
        <p15:guide id="31" orient="horz" pos="860" userDrawn="1">
          <p15:clr>
            <a:srgbClr val="F26B43"/>
          </p15:clr>
        </p15:guide>
        <p15:guide id="32" orient="horz" pos="1173" userDrawn="1">
          <p15:clr>
            <a:srgbClr val="F26B43"/>
          </p15:clr>
        </p15:guide>
        <p15:guide id="33" orient="horz" pos="1317" userDrawn="1">
          <p15:clr>
            <a:srgbClr val="F26B43"/>
          </p15:clr>
        </p15:guide>
        <p15:guide id="34" orient="horz" pos="1630" userDrawn="1">
          <p15:clr>
            <a:srgbClr val="F26B43"/>
          </p15:clr>
        </p15:guide>
        <p15:guide id="35" orient="horz" pos="1774" userDrawn="1">
          <p15:clr>
            <a:srgbClr val="F26B43"/>
          </p15:clr>
        </p15:guide>
        <p15:guide id="36" orient="horz" pos="2088" userDrawn="1">
          <p15:clr>
            <a:srgbClr val="F26B43"/>
          </p15:clr>
        </p15:guide>
        <p15:guide id="37" orient="horz" pos="2232" userDrawn="1">
          <p15:clr>
            <a:srgbClr val="F26B43"/>
          </p15:clr>
        </p15:guide>
        <p15:guide id="38" orient="horz" pos="2545" userDrawn="1">
          <p15:clr>
            <a:srgbClr val="F26B43"/>
          </p15:clr>
        </p15:guide>
        <p15:guide id="39" orient="horz" pos="2689" userDrawn="1">
          <p15:clr>
            <a:srgbClr val="F26B43"/>
          </p15:clr>
        </p15:guide>
        <p15:guide id="40" orient="horz" pos="3002" userDrawn="1">
          <p15:clr>
            <a:srgbClr val="F26B43"/>
          </p15:clr>
        </p15:guide>
        <p15:guide id="41" orient="horz" pos="3146" userDrawn="1">
          <p15:clr>
            <a:srgbClr val="F26B43"/>
          </p15:clr>
        </p15:guide>
        <p15:guide id="42" orient="horz" pos="3459" userDrawn="1">
          <p15:clr>
            <a:srgbClr val="F26B43"/>
          </p15:clr>
        </p15:guide>
        <p15:guide id="43" orient="horz" pos="3603" userDrawn="1">
          <p15:clr>
            <a:srgbClr val="F26B43"/>
          </p15:clr>
        </p15:guide>
        <p15:guide id="44" orient="horz" pos="391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Gray">
      <p:bgPr>
        <a:solidFill>
          <a:srgbClr val="F3F5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35B6F9-052D-01EC-95D7-2A59F7A5C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31298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1" imgW="425" imgH="424" progId="TCLayout.ActiveDocument.1">
                  <p:embed/>
                </p:oleObj>
              </mc:Choice>
              <mc:Fallback>
                <p:oleObj name="Slide do think-cell" r:id="rId31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35B6F9-052D-01EC-95D7-2A59F7A5C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1375562-E38E-3A5D-DD5E-76EE13574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1037"/>
            <a:ext cx="10363200" cy="128111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9C89F05-6560-FB4B-012E-55287B7FDE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2090738"/>
            <a:ext cx="10363200" cy="40862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Segundo nível</a:t>
            </a:r>
          </a:p>
          <a:p>
            <a:pPr marL="792000" marR="0" lvl="2" indent="-2880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3"/>
                    </a:ext>
                  </a:extLst>
                </a:blip>
              </a:buBlip>
              <a:tabLst/>
              <a:defRPr/>
            </a:pPr>
            <a:endParaRPr lang="pt-BR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BF552152-09DD-4754-E8EA-28C8CDC581E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"/>
            <a:ext cx="711200" cy="542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45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61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112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45BB3BD-7CE9-F565-F21C-426C7596E71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621506"/>
            <a:ext cx="711200" cy="533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244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97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77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F7F9F265-89D1-78AC-55E6-238CE5D4A1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233488"/>
            <a:ext cx="711200" cy="542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900" b="1">
                <a:solidFill>
                  <a:schemeClr val="bg1"/>
                </a:solidFill>
              </a:rPr>
              <a:t>R 176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G 183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B 193</a:t>
            </a:r>
          </a:p>
        </p:txBody>
      </p:sp>
      <p:pic>
        <p:nvPicPr>
          <p:cNvPr id="27" name="Gráfico 26">
            <a:extLst>
              <a:ext uri="{FF2B5EF4-FFF2-40B4-BE49-F238E27FC236}">
                <a16:creationId xmlns:a16="http://schemas.microsoft.com/office/drawing/2014/main" id="{31F32912-5504-1525-E4B7-761D37AF19E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-806451" y="2343150"/>
            <a:ext cx="711200" cy="417743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6CA5DEA4-EEAB-3449-C3DD-83C8AC4487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-806451" y="2760893"/>
            <a:ext cx="711200" cy="334885"/>
          </a:xfrm>
          <a:prstGeom prst="rect">
            <a:avLst/>
          </a:prstGeom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B90C53BE-8249-C3B9-7787-556D2CC1322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-233348" y="3254590"/>
            <a:ext cx="138097" cy="162264"/>
          </a:xfrm>
          <a:prstGeom prst="rect">
            <a:avLst/>
          </a:prstGeom>
        </p:spPr>
      </p:pic>
      <p:pic>
        <p:nvPicPr>
          <p:cNvPr id="14" name="Gráfico 13" descr="Matérias primas estrutura de tópicos">
            <a:extLst>
              <a:ext uri="{FF2B5EF4-FFF2-40B4-BE49-F238E27FC236}">
                <a16:creationId xmlns:a16="http://schemas.microsoft.com/office/drawing/2014/main" id="{8AD833E9-22C0-601A-0AE3-555FB8C3757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4457074" y="2993159"/>
            <a:ext cx="242954" cy="242954"/>
          </a:xfrm>
          <a:prstGeom prst="rect">
            <a:avLst/>
          </a:prstGeom>
        </p:spPr>
      </p:pic>
      <p:pic>
        <p:nvPicPr>
          <p:cNvPr id="15" name="Gráfico 14" descr="Ferramentas de mineração estrutura de tópicos">
            <a:extLst>
              <a:ext uri="{FF2B5EF4-FFF2-40B4-BE49-F238E27FC236}">
                <a16:creationId xmlns:a16="http://schemas.microsoft.com/office/drawing/2014/main" id="{CCA2FCD9-F510-D80C-4745-0BF4C8EDB2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4742849" y="2121862"/>
            <a:ext cx="242952" cy="242952"/>
          </a:xfrm>
          <a:prstGeom prst="rect">
            <a:avLst/>
          </a:prstGeom>
        </p:spPr>
      </p:pic>
      <p:pic>
        <p:nvPicPr>
          <p:cNvPr id="16" name="Gráfico 15" descr="Giroteodolito estrutura de tópicos">
            <a:extLst>
              <a:ext uri="{FF2B5EF4-FFF2-40B4-BE49-F238E27FC236}">
                <a16:creationId xmlns:a16="http://schemas.microsoft.com/office/drawing/2014/main" id="{F0FBC73D-E02E-FE83-D5BA-3DC8280E30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3805097" y="1382027"/>
            <a:ext cx="283735" cy="283735"/>
          </a:xfrm>
          <a:prstGeom prst="rect">
            <a:avLst/>
          </a:prstGeom>
        </p:spPr>
      </p:pic>
      <p:pic>
        <p:nvPicPr>
          <p:cNvPr id="17" name="Gráfico 16" descr="Trabalho estrutura de tópicos">
            <a:extLst>
              <a:ext uri="{FF2B5EF4-FFF2-40B4-BE49-F238E27FC236}">
                <a16:creationId xmlns:a16="http://schemas.microsoft.com/office/drawing/2014/main" id="{32532361-509B-7A46-B1D7-55CBC5498FC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3459014" y="2272264"/>
            <a:ext cx="242952" cy="242952"/>
          </a:xfrm>
          <a:prstGeom prst="rect">
            <a:avLst/>
          </a:prstGeom>
        </p:spPr>
      </p:pic>
      <p:pic>
        <p:nvPicPr>
          <p:cNvPr id="18" name="Gráfico 17" descr="Mapa da topografia estrutura de tópicos">
            <a:extLst>
              <a:ext uri="{FF2B5EF4-FFF2-40B4-BE49-F238E27FC236}">
                <a16:creationId xmlns:a16="http://schemas.microsoft.com/office/drawing/2014/main" id="{1BDC512B-4ED3-961D-76C0-58A033B4863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3383978" y="5325046"/>
            <a:ext cx="214270" cy="214270"/>
          </a:xfrm>
          <a:prstGeom prst="rect">
            <a:avLst/>
          </a:prstGeom>
        </p:spPr>
      </p:pic>
      <p:pic>
        <p:nvPicPr>
          <p:cNvPr id="19" name="Gráfico 18" descr="Caminhão de lixo estrutura de tópicos">
            <a:extLst>
              <a:ext uri="{FF2B5EF4-FFF2-40B4-BE49-F238E27FC236}">
                <a16:creationId xmlns:a16="http://schemas.microsoft.com/office/drawing/2014/main" id="{71A9711F-F456-49EE-5BF2-E847298745B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3596049" y="1112339"/>
            <a:ext cx="211834" cy="211834"/>
          </a:xfrm>
          <a:prstGeom prst="rect">
            <a:avLst/>
          </a:prstGeom>
        </p:spPr>
      </p:pic>
      <p:pic>
        <p:nvPicPr>
          <p:cNvPr id="20" name="Gráfico 19" descr="Área de Transferência estrutura de tópicos">
            <a:extLst>
              <a:ext uri="{FF2B5EF4-FFF2-40B4-BE49-F238E27FC236}">
                <a16:creationId xmlns:a16="http://schemas.microsoft.com/office/drawing/2014/main" id="{0B7D5D2B-E920-5228-5D71-03FA4EC24AB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2940699" y="5716455"/>
            <a:ext cx="199733" cy="199733"/>
          </a:xfrm>
          <a:prstGeom prst="rect">
            <a:avLst/>
          </a:prstGeom>
        </p:spPr>
      </p:pic>
      <p:pic>
        <p:nvPicPr>
          <p:cNvPr id="21" name="Gráfico 20" descr="Área de Transferência Marcada estrutura de tópicos">
            <a:extLst>
              <a:ext uri="{FF2B5EF4-FFF2-40B4-BE49-F238E27FC236}">
                <a16:creationId xmlns:a16="http://schemas.microsoft.com/office/drawing/2014/main" id="{F1D20945-8D16-40DE-2D51-2B7423C50A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4804579" y="3454273"/>
            <a:ext cx="274845" cy="274845"/>
          </a:xfrm>
          <a:prstGeom prst="rect">
            <a:avLst/>
          </a:prstGeom>
        </p:spPr>
      </p:pic>
      <p:pic>
        <p:nvPicPr>
          <p:cNvPr id="22" name="Gráfico 21" descr="Bússola estrutura de tópicos">
            <a:extLst>
              <a:ext uri="{FF2B5EF4-FFF2-40B4-BE49-F238E27FC236}">
                <a16:creationId xmlns:a16="http://schemas.microsoft.com/office/drawing/2014/main" id="{6C420177-92AA-84B7-F0A4-24F84B8716C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 flipH="1">
            <a:off x="14776828" y="3143563"/>
            <a:ext cx="274844" cy="274844"/>
          </a:xfrm>
          <a:prstGeom prst="rect">
            <a:avLst/>
          </a:prstGeom>
        </p:spPr>
      </p:pic>
      <p:pic>
        <p:nvPicPr>
          <p:cNvPr id="23" name="Gráfico 22" descr="Cristais estrutura de tópicos">
            <a:extLst>
              <a:ext uri="{FF2B5EF4-FFF2-40B4-BE49-F238E27FC236}">
                <a16:creationId xmlns:a16="http://schemas.microsoft.com/office/drawing/2014/main" id="{132D3788-0ED4-1DB7-6F66-701745F129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3302357" y="4851361"/>
            <a:ext cx="271075" cy="271075"/>
          </a:xfrm>
          <a:prstGeom prst="rect">
            <a:avLst/>
          </a:prstGeom>
        </p:spPr>
      </p:pic>
      <p:pic>
        <p:nvPicPr>
          <p:cNvPr id="24" name="Gráfico 23" descr="Trem de brinquedo estrutura de tópicos">
            <a:extLst>
              <a:ext uri="{FF2B5EF4-FFF2-40B4-BE49-F238E27FC236}">
                <a16:creationId xmlns:a16="http://schemas.microsoft.com/office/drawing/2014/main" id="{4C7606AE-ED0D-B3B7-E088-85E82B0974E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4114976" y="701726"/>
            <a:ext cx="211834" cy="211834"/>
          </a:xfrm>
          <a:prstGeom prst="rect">
            <a:avLst/>
          </a:prstGeom>
        </p:spPr>
      </p:pic>
      <p:pic>
        <p:nvPicPr>
          <p:cNvPr id="25" name="Gráfico 24" descr="Carrinho de mão estrutura de tópicos">
            <a:extLst>
              <a:ext uri="{FF2B5EF4-FFF2-40B4-BE49-F238E27FC236}">
                <a16:creationId xmlns:a16="http://schemas.microsoft.com/office/drawing/2014/main" id="{0BDD9D82-3131-3A33-2A53-896A4B66325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3714980" y="500417"/>
            <a:ext cx="293859" cy="293859"/>
          </a:xfrm>
          <a:prstGeom prst="rect">
            <a:avLst/>
          </a:prstGeom>
        </p:spPr>
      </p:pic>
      <p:pic>
        <p:nvPicPr>
          <p:cNvPr id="26" name="Gráfico 25" descr="Barras de ouro estrutura de tópicos">
            <a:extLst>
              <a:ext uri="{FF2B5EF4-FFF2-40B4-BE49-F238E27FC236}">
                <a16:creationId xmlns:a16="http://schemas.microsoft.com/office/drawing/2014/main" id="{8E3FCE5E-2E30-1A9B-329F-E68142982B5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4888604" y="2573070"/>
            <a:ext cx="242953" cy="242953"/>
          </a:xfrm>
          <a:prstGeom prst="rect">
            <a:avLst/>
          </a:prstGeom>
        </p:spPr>
      </p:pic>
      <p:pic>
        <p:nvPicPr>
          <p:cNvPr id="28" name="Gráfico 27" descr="Pote de ouro estrutura de tópicos">
            <a:extLst>
              <a:ext uri="{FF2B5EF4-FFF2-40B4-BE49-F238E27FC236}">
                <a16:creationId xmlns:a16="http://schemas.microsoft.com/office/drawing/2014/main" id="{CF9EE902-47A5-5A68-7DA4-26052033AE0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3325342" y="821010"/>
            <a:ext cx="255463" cy="255463"/>
          </a:xfrm>
          <a:prstGeom prst="rect">
            <a:avLst/>
          </a:prstGeom>
        </p:spPr>
      </p:pic>
      <p:pic>
        <p:nvPicPr>
          <p:cNvPr id="30" name="Gráfico 29" descr="Mapa do tesouro estrutura de tópicos">
            <a:extLst>
              <a:ext uri="{FF2B5EF4-FFF2-40B4-BE49-F238E27FC236}">
                <a16:creationId xmlns:a16="http://schemas.microsoft.com/office/drawing/2014/main" id="{01F3B905-75F9-0EED-E25B-960161825AA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4240517" y="4579957"/>
            <a:ext cx="220966" cy="220966"/>
          </a:xfrm>
          <a:prstGeom prst="rect">
            <a:avLst/>
          </a:prstGeom>
        </p:spPr>
      </p:pic>
      <p:pic>
        <p:nvPicPr>
          <p:cNvPr id="32" name="Gráfico 31" descr="Mapa com alfinete estrutura de tópicos">
            <a:extLst>
              <a:ext uri="{FF2B5EF4-FFF2-40B4-BE49-F238E27FC236}">
                <a16:creationId xmlns:a16="http://schemas.microsoft.com/office/drawing/2014/main" id="{B2220691-CCCA-00DE-BDC0-2065FABC5A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4339112" y="4116238"/>
            <a:ext cx="242953" cy="242953"/>
          </a:xfrm>
          <a:prstGeom prst="rect">
            <a:avLst/>
          </a:prstGeom>
        </p:spPr>
      </p:pic>
      <p:pic>
        <p:nvPicPr>
          <p:cNvPr id="33" name="Gráfico 32" descr="Trilhos de trem estrutura de tópicos">
            <a:extLst>
              <a:ext uri="{FF2B5EF4-FFF2-40B4-BE49-F238E27FC236}">
                <a16:creationId xmlns:a16="http://schemas.microsoft.com/office/drawing/2014/main" id="{29AA9D78-A40F-A0D5-94D8-EDF382D77D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4870878" y="2842757"/>
            <a:ext cx="242952" cy="242952"/>
          </a:xfrm>
          <a:prstGeom prst="rect">
            <a:avLst/>
          </a:prstGeom>
        </p:spPr>
      </p:pic>
      <p:pic>
        <p:nvPicPr>
          <p:cNvPr id="34" name="Gráfico 33" descr="Globo estrutura de tópicos">
            <a:extLst>
              <a:ext uri="{FF2B5EF4-FFF2-40B4-BE49-F238E27FC236}">
                <a16:creationId xmlns:a16="http://schemas.microsoft.com/office/drawing/2014/main" id="{D27B2EF7-9895-0618-8B6A-E080254CC6B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3577612" y="2422666"/>
            <a:ext cx="242954" cy="242954"/>
          </a:xfrm>
          <a:prstGeom prst="rect">
            <a:avLst/>
          </a:prstGeom>
        </p:spPr>
      </p:pic>
      <p:pic>
        <p:nvPicPr>
          <p:cNvPr id="35" name="Gráfico 34" descr="Mundo estrutura de tópicos">
            <a:extLst>
              <a:ext uri="{FF2B5EF4-FFF2-40B4-BE49-F238E27FC236}">
                <a16:creationId xmlns:a16="http://schemas.microsoft.com/office/drawing/2014/main" id="{6FF17257-CF5D-93EA-7C30-4BA9081BE2E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3567259" y="4417045"/>
            <a:ext cx="255462" cy="255462"/>
          </a:xfrm>
          <a:prstGeom prst="rect">
            <a:avLst/>
          </a:prstGeom>
        </p:spPr>
      </p:pic>
      <p:pic>
        <p:nvPicPr>
          <p:cNvPr id="36" name="Gráfico 35" descr="Bússola de mapa estrutura de tópicos">
            <a:extLst>
              <a:ext uri="{FF2B5EF4-FFF2-40B4-BE49-F238E27FC236}">
                <a16:creationId xmlns:a16="http://schemas.microsoft.com/office/drawing/2014/main" id="{5FAEB632-7EE6-0BF8-FAC3-DEE6E4D053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13946312" y="1725431"/>
            <a:ext cx="306686" cy="306686"/>
          </a:xfrm>
          <a:prstGeom prst="rect">
            <a:avLst/>
          </a:prstGeom>
        </p:spPr>
      </p:pic>
      <p:pic>
        <p:nvPicPr>
          <p:cNvPr id="37" name="Gráfico 36" descr="Cena de estrada estrutura de tópicos">
            <a:extLst>
              <a:ext uri="{FF2B5EF4-FFF2-40B4-BE49-F238E27FC236}">
                <a16:creationId xmlns:a16="http://schemas.microsoft.com/office/drawing/2014/main" id="{2355756D-5A01-3BF7-BB12-9B6B57C60F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 flipH="1">
            <a:off x="14440317" y="3636568"/>
            <a:ext cx="302532" cy="302532"/>
          </a:xfrm>
          <a:prstGeom prst="rect">
            <a:avLst/>
          </a:prstGeom>
        </p:spPr>
      </p:pic>
      <p:pic>
        <p:nvPicPr>
          <p:cNvPr id="38" name="Gráfico 37" descr="Compasso estrutura de tópicos">
            <a:extLst>
              <a:ext uri="{FF2B5EF4-FFF2-40B4-BE49-F238E27FC236}">
                <a16:creationId xmlns:a16="http://schemas.microsoft.com/office/drawing/2014/main" id="{FB18B9E5-4754-08C4-3E89-2B33637D03C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4578550" y="1573212"/>
            <a:ext cx="244769" cy="244769"/>
          </a:xfrm>
          <a:prstGeom prst="rect">
            <a:avLst/>
          </a:prstGeom>
        </p:spPr>
      </p:pic>
      <p:pic>
        <p:nvPicPr>
          <p:cNvPr id="39" name="Gráfico 38" descr="Trilhos de trem estrutura de tópicos">
            <a:extLst>
              <a:ext uri="{FF2B5EF4-FFF2-40B4-BE49-F238E27FC236}">
                <a16:creationId xmlns:a16="http://schemas.microsoft.com/office/drawing/2014/main" id="{C92C70C5-C2A6-A477-EEB8-601B8D205D8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4044071" y="5174644"/>
            <a:ext cx="242952" cy="242952"/>
          </a:xfrm>
          <a:prstGeom prst="rect">
            <a:avLst/>
          </a:prstGeom>
        </p:spPr>
      </p:pic>
      <p:pic>
        <p:nvPicPr>
          <p:cNvPr id="40" name="Gráfico 39" descr="Matérias primas estrutura de tópicos">
            <a:extLst>
              <a:ext uri="{FF2B5EF4-FFF2-40B4-BE49-F238E27FC236}">
                <a16:creationId xmlns:a16="http://schemas.microsoft.com/office/drawing/2014/main" id="{07B5BB62-52E0-DDBD-5DBB-1E49FF58450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4214120" y="1231623"/>
            <a:ext cx="242954" cy="242954"/>
          </a:xfrm>
          <a:prstGeom prst="rect">
            <a:avLst/>
          </a:prstGeom>
        </p:spPr>
      </p:pic>
      <p:pic>
        <p:nvPicPr>
          <p:cNvPr id="41" name="Gráfico 40" descr="Globo estrutura de tópicos">
            <a:extLst>
              <a:ext uri="{FF2B5EF4-FFF2-40B4-BE49-F238E27FC236}">
                <a16:creationId xmlns:a16="http://schemas.microsoft.com/office/drawing/2014/main" id="{9209910A-2692-51DA-CF5A-6C3BF9E6D9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4141174" y="3846550"/>
            <a:ext cx="242954" cy="242954"/>
          </a:xfrm>
          <a:prstGeom prst="rect">
            <a:avLst/>
          </a:prstGeom>
        </p:spPr>
      </p:pic>
      <p:pic>
        <p:nvPicPr>
          <p:cNvPr id="42" name="Gráfico 41" descr="Trem de brinquedo estrutura de tópicos">
            <a:extLst>
              <a:ext uri="{FF2B5EF4-FFF2-40B4-BE49-F238E27FC236}">
                <a16:creationId xmlns:a16="http://schemas.microsoft.com/office/drawing/2014/main" id="{6AF85600-9BD1-3F8C-3267-7560B21775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4265256" y="2723473"/>
            <a:ext cx="211834" cy="211834"/>
          </a:xfrm>
          <a:prstGeom prst="rect">
            <a:avLst/>
          </a:prstGeom>
        </p:spPr>
      </p:pic>
      <p:pic>
        <p:nvPicPr>
          <p:cNvPr id="43" name="Gráfico 42" descr="Matérias primas estrutura de tópicos">
            <a:extLst>
              <a:ext uri="{FF2B5EF4-FFF2-40B4-BE49-F238E27FC236}">
                <a16:creationId xmlns:a16="http://schemas.microsoft.com/office/drawing/2014/main" id="{8D8078A1-4EA2-7541-BFE3-B74B7BF001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3244075" y="5566050"/>
            <a:ext cx="242954" cy="242954"/>
          </a:xfrm>
          <a:prstGeom prst="rect">
            <a:avLst/>
          </a:prstGeom>
        </p:spPr>
      </p:pic>
      <p:pic>
        <p:nvPicPr>
          <p:cNvPr id="44" name="Gráfico 43" descr="Mapa do tesouro estrutura de tópicos">
            <a:extLst>
              <a:ext uri="{FF2B5EF4-FFF2-40B4-BE49-F238E27FC236}">
                <a16:creationId xmlns:a16="http://schemas.microsoft.com/office/drawing/2014/main" id="{7B951DF5-D3BC-6A46-7754-CF43BB05E3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3816433" y="983923"/>
            <a:ext cx="220966" cy="220966"/>
          </a:xfrm>
          <a:prstGeom prst="rect">
            <a:avLst/>
          </a:prstGeom>
        </p:spPr>
      </p:pic>
      <p:pic>
        <p:nvPicPr>
          <p:cNvPr id="45" name="Gráfico 44" descr="Área de Transferência Marcada estrutura de tópicos">
            <a:extLst>
              <a:ext uri="{FF2B5EF4-FFF2-40B4-BE49-F238E27FC236}">
                <a16:creationId xmlns:a16="http://schemas.microsoft.com/office/drawing/2014/main" id="{922D4BC0-55E5-940D-FBC9-7553451F6D0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4386567" y="1939567"/>
            <a:ext cx="274845" cy="274845"/>
          </a:xfrm>
          <a:prstGeom prst="rect">
            <a:avLst/>
          </a:prstGeom>
        </p:spPr>
      </p:pic>
      <p:pic>
        <p:nvPicPr>
          <p:cNvPr id="46" name="Gráfico 45" descr="Trem de brinquedo estrutura de tópicos">
            <a:extLst>
              <a:ext uri="{FF2B5EF4-FFF2-40B4-BE49-F238E27FC236}">
                <a16:creationId xmlns:a16="http://schemas.microsoft.com/office/drawing/2014/main" id="{4E44D481-2ED6-C84D-2C21-2412913B5C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4776828" y="3996954"/>
            <a:ext cx="211834" cy="211834"/>
          </a:xfrm>
          <a:prstGeom prst="rect">
            <a:avLst/>
          </a:prstGeom>
        </p:spPr>
      </p:pic>
      <p:pic>
        <p:nvPicPr>
          <p:cNvPr id="47" name="Gráfico 46" descr="Matérias primas estrutura de tópicos">
            <a:extLst>
              <a:ext uri="{FF2B5EF4-FFF2-40B4-BE49-F238E27FC236}">
                <a16:creationId xmlns:a16="http://schemas.microsoft.com/office/drawing/2014/main" id="{F41F90FD-58E5-06C9-88E1-02EE7679A3D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4477092" y="4266641"/>
            <a:ext cx="242954" cy="242954"/>
          </a:xfrm>
          <a:prstGeom prst="rect">
            <a:avLst/>
          </a:prstGeom>
        </p:spPr>
      </p:pic>
      <p:pic>
        <p:nvPicPr>
          <p:cNvPr id="48" name="Gráfico 47" descr="Mapa do tesouro estrutura de tópicos">
            <a:extLst>
              <a:ext uri="{FF2B5EF4-FFF2-40B4-BE49-F238E27FC236}">
                <a16:creationId xmlns:a16="http://schemas.microsoft.com/office/drawing/2014/main" id="{5A0884C7-11F4-27ED-CAA5-AC6B68E4326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4274679" y="3325857"/>
            <a:ext cx="220966" cy="220966"/>
          </a:xfrm>
          <a:prstGeom prst="rect">
            <a:avLst/>
          </a:prstGeom>
        </p:spPr>
      </p:pic>
      <p:pic>
        <p:nvPicPr>
          <p:cNvPr id="49" name="Gráfico 48" descr="Caminhão de lixo estrutura de tópicos">
            <a:extLst>
              <a:ext uri="{FF2B5EF4-FFF2-40B4-BE49-F238E27FC236}">
                <a16:creationId xmlns:a16="http://schemas.microsoft.com/office/drawing/2014/main" id="{B7AC7C5D-6CC1-8DCD-FFB2-D4571509E89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3037167" y="5446766"/>
            <a:ext cx="211834" cy="211834"/>
          </a:xfrm>
          <a:prstGeom prst="rect">
            <a:avLst/>
          </a:prstGeom>
        </p:spPr>
      </p:pic>
      <p:pic>
        <p:nvPicPr>
          <p:cNvPr id="50" name="Gráfico 49" descr="Bússola estrutura de tópicos">
            <a:extLst>
              <a:ext uri="{FF2B5EF4-FFF2-40B4-BE49-F238E27FC236}">
                <a16:creationId xmlns:a16="http://schemas.microsoft.com/office/drawing/2014/main" id="{828359E1-7125-2FE0-F0C7-5314016A455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 flipH="1">
            <a:off x="13021777" y="5029886"/>
            <a:ext cx="237308" cy="237308"/>
          </a:xfrm>
          <a:prstGeom prst="rect">
            <a:avLst/>
          </a:prstGeom>
        </p:spPr>
      </p:pic>
      <p:pic>
        <p:nvPicPr>
          <p:cNvPr id="51" name="Gráfico 50" descr="Globo estrutura de tópicos">
            <a:extLst>
              <a:ext uri="{FF2B5EF4-FFF2-40B4-BE49-F238E27FC236}">
                <a16:creationId xmlns:a16="http://schemas.microsoft.com/office/drawing/2014/main" id="{C99849C7-4D12-C2B0-FFA0-90637BCC0E3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3959598" y="4708373"/>
            <a:ext cx="235538" cy="235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222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  <p:sldLayoutId id="2147483992" r:id="rId14"/>
    <p:sldLayoutId id="2147483993" r:id="rId15"/>
    <p:sldLayoutId id="2147483994" r:id="rId16"/>
    <p:sldLayoutId id="2147483995" r:id="rId17"/>
    <p:sldLayoutId id="2147483996" r:id="rId18"/>
    <p:sldLayoutId id="2147483997" r:id="rId19"/>
    <p:sldLayoutId id="2147483998" r:id="rId20"/>
    <p:sldLayoutId id="2147483999" r:id="rId21"/>
    <p:sldLayoutId id="2147484000" r:id="rId22"/>
    <p:sldLayoutId id="2147484001" r:id="rId23"/>
    <p:sldLayoutId id="2147484002" r:id="rId24"/>
    <p:sldLayoutId id="2147484003" r:id="rId25"/>
    <p:sldLayoutId id="2147484004" r:id="rId26"/>
    <p:sldLayoutId id="2147484005" r:id="rId27"/>
    <p:sldLayoutId id="2147484006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spc="-4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2000"/>
        </a:spcBef>
        <a:spcAft>
          <a:spcPts val="500"/>
        </a:spcAft>
        <a:buFont typeface="Arial" panose="020B0604020202020204" pitchFamily="34" charset="0"/>
        <a:buNone/>
        <a:defRPr sz="17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936000" indent="288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lang="pt-BR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576">
          <p15:clr>
            <a:srgbClr val="F26B43"/>
          </p15:clr>
        </p15:guide>
        <p15:guide id="4" pos="988">
          <p15:clr>
            <a:srgbClr val="F26B43"/>
          </p15:clr>
        </p15:guide>
        <p15:guide id="5" pos="1141">
          <p15:clr>
            <a:srgbClr val="F26B43"/>
          </p15:clr>
        </p15:guide>
        <p15:guide id="6" pos="1544">
          <p15:clr>
            <a:srgbClr val="F26B43"/>
          </p15:clr>
        </p15:guide>
        <p15:guide id="7" pos="1688">
          <p15:clr>
            <a:srgbClr val="F26B43"/>
          </p15:clr>
        </p15:guide>
        <p15:guide id="8" pos="2100">
          <p15:clr>
            <a:srgbClr val="F26B43"/>
          </p15:clr>
        </p15:guide>
        <p15:guide id="9" pos="2244">
          <p15:clr>
            <a:srgbClr val="F26B43"/>
          </p15:clr>
        </p15:guide>
        <p15:guide id="10" pos="2656">
          <p15:clr>
            <a:srgbClr val="F26B43"/>
          </p15:clr>
        </p15:guide>
        <p15:guide id="11" pos="2800">
          <p15:clr>
            <a:srgbClr val="F26B43"/>
          </p15:clr>
        </p15:guide>
        <p15:guide id="12" pos="3212">
          <p15:clr>
            <a:srgbClr val="F26B43"/>
          </p15:clr>
        </p15:guide>
        <p15:guide id="13" pos="3356">
          <p15:clr>
            <a:srgbClr val="F26B43"/>
          </p15:clr>
        </p15:guide>
        <p15:guide id="14" pos="3768">
          <p15:clr>
            <a:srgbClr val="F26B43"/>
          </p15:clr>
        </p15:guide>
        <p15:guide id="15" pos="3912">
          <p15:clr>
            <a:srgbClr val="F26B43"/>
          </p15:clr>
        </p15:guide>
        <p15:guide id="16" pos="4324">
          <p15:clr>
            <a:srgbClr val="F26B43"/>
          </p15:clr>
        </p15:guide>
        <p15:guide id="17" pos="4468">
          <p15:clr>
            <a:srgbClr val="F26B43"/>
          </p15:clr>
        </p15:guide>
        <p15:guide id="18" pos="4880">
          <p15:clr>
            <a:srgbClr val="F26B43"/>
          </p15:clr>
        </p15:guide>
        <p15:guide id="19" pos="5024">
          <p15:clr>
            <a:srgbClr val="F26B43"/>
          </p15:clr>
        </p15:guide>
        <p15:guide id="20" pos="5436">
          <p15:clr>
            <a:srgbClr val="F26B43"/>
          </p15:clr>
        </p15:guide>
        <p15:guide id="21" pos="5580">
          <p15:clr>
            <a:srgbClr val="F26B43"/>
          </p15:clr>
        </p15:guide>
        <p15:guide id="22" pos="5992">
          <p15:clr>
            <a:srgbClr val="F26B43"/>
          </p15:clr>
        </p15:guide>
        <p15:guide id="23" pos="6136">
          <p15:clr>
            <a:srgbClr val="F26B43"/>
          </p15:clr>
        </p15:guide>
        <p15:guide id="24" pos="6548">
          <p15:clr>
            <a:srgbClr val="F26B43"/>
          </p15:clr>
        </p15:guide>
        <p15:guide id="25" pos="6692">
          <p15:clr>
            <a:srgbClr val="F26B43"/>
          </p15:clr>
        </p15:guide>
        <p15:guide id="26" pos="7104">
          <p15:clr>
            <a:srgbClr val="F26B43"/>
          </p15:clr>
        </p15:guide>
        <p15:guide id="27" orient="horz">
          <p15:clr>
            <a:srgbClr val="F26B43"/>
          </p15:clr>
        </p15:guide>
        <p15:guide id="28" orient="horz" pos="4320">
          <p15:clr>
            <a:srgbClr val="F26B43"/>
          </p15:clr>
        </p15:guide>
        <p15:guide id="29" orient="horz" pos="403">
          <p15:clr>
            <a:srgbClr val="F26B43"/>
          </p15:clr>
        </p15:guide>
        <p15:guide id="30" orient="horz" pos="716">
          <p15:clr>
            <a:srgbClr val="F26B43"/>
          </p15:clr>
        </p15:guide>
        <p15:guide id="31" orient="horz" pos="860">
          <p15:clr>
            <a:srgbClr val="F26B43"/>
          </p15:clr>
        </p15:guide>
        <p15:guide id="32" orient="horz" pos="1173">
          <p15:clr>
            <a:srgbClr val="F26B43"/>
          </p15:clr>
        </p15:guide>
        <p15:guide id="33" orient="horz" pos="1317">
          <p15:clr>
            <a:srgbClr val="F26B43"/>
          </p15:clr>
        </p15:guide>
        <p15:guide id="34" orient="horz" pos="1630">
          <p15:clr>
            <a:srgbClr val="F26B43"/>
          </p15:clr>
        </p15:guide>
        <p15:guide id="35" orient="horz" pos="1774">
          <p15:clr>
            <a:srgbClr val="F26B43"/>
          </p15:clr>
        </p15:guide>
        <p15:guide id="36" orient="horz" pos="2088">
          <p15:clr>
            <a:srgbClr val="F26B43"/>
          </p15:clr>
        </p15:guide>
        <p15:guide id="37" orient="horz" pos="2232">
          <p15:clr>
            <a:srgbClr val="F26B43"/>
          </p15:clr>
        </p15:guide>
        <p15:guide id="38" orient="horz" pos="2545">
          <p15:clr>
            <a:srgbClr val="F26B43"/>
          </p15:clr>
        </p15:guide>
        <p15:guide id="39" orient="horz" pos="2689">
          <p15:clr>
            <a:srgbClr val="F26B43"/>
          </p15:clr>
        </p15:guide>
        <p15:guide id="40" orient="horz" pos="3002">
          <p15:clr>
            <a:srgbClr val="F26B43"/>
          </p15:clr>
        </p15:guide>
        <p15:guide id="41" orient="horz" pos="3146">
          <p15:clr>
            <a:srgbClr val="F26B43"/>
          </p15:clr>
        </p15:guide>
        <p15:guide id="42" orient="horz" pos="3459">
          <p15:clr>
            <a:srgbClr val="F26B43"/>
          </p15:clr>
        </p15:guide>
        <p15:guide id="43" orient="horz" pos="3603">
          <p15:clr>
            <a:srgbClr val="F26B43"/>
          </p15:clr>
        </p15:guide>
        <p15:guide id="44" orient="horz" pos="39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Gray">
      <p:bgPr>
        <a:solidFill>
          <a:srgbClr val="F3F5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35B6F9-052D-01EC-95D7-2A59F7A5C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400086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1" imgW="425" imgH="424" progId="TCLayout.ActiveDocument.1">
                  <p:embed/>
                </p:oleObj>
              </mc:Choice>
              <mc:Fallback>
                <p:oleObj name="Slide do think-cell" r:id="rId31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35B6F9-052D-01EC-95D7-2A59F7A5C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1375562-E38E-3A5D-DD5E-76EE13574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1037"/>
            <a:ext cx="10363200" cy="128111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9C89F05-6560-FB4B-012E-55287B7FDE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2090738"/>
            <a:ext cx="10363200" cy="40862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Segundo nível</a:t>
            </a:r>
          </a:p>
          <a:p>
            <a:pPr marL="792000" marR="0" lvl="2" indent="-2880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3"/>
                    </a:ext>
                  </a:extLst>
                </a:blip>
              </a:buBlip>
              <a:tabLst/>
              <a:defRPr/>
            </a:pPr>
            <a:endParaRPr lang="pt-BR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BF552152-09DD-4754-E8EA-28C8CDC581E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"/>
            <a:ext cx="711200" cy="542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45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61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112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45BB3BD-7CE9-F565-F21C-426C7596E71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621506"/>
            <a:ext cx="711200" cy="533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244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97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77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F7F9F265-89D1-78AC-55E6-238CE5D4A1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233488"/>
            <a:ext cx="711200" cy="542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900" b="1">
                <a:solidFill>
                  <a:schemeClr val="bg1"/>
                </a:solidFill>
              </a:rPr>
              <a:t>R 176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G 183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B 193</a:t>
            </a:r>
          </a:p>
        </p:txBody>
      </p:sp>
      <p:pic>
        <p:nvPicPr>
          <p:cNvPr id="27" name="Gráfico 26">
            <a:extLst>
              <a:ext uri="{FF2B5EF4-FFF2-40B4-BE49-F238E27FC236}">
                <a16:creationId xmlns:a16="http://schemas.microsoft.com/office/drawing/2014/main" id="{31F32912-5504-1525-E4B7-761D37AF19E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-806451" y="2343150"/>
            <a:ext cx="711200" cy="417743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6CA5DEA4-EEAB-3449-C3DD-83C8AC4487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-806451" y="2760893"/>
            <a:ext cx="711200" cy="334885"/>
          </a:xfrm>
          <a:prstGeom prst="rect">
            <a:avLst/>
          </a:prstGeom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B90C53BE-8249-C3B9-7787-556D2CC1322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-233348" y="3254590"/>
            <a:ext cx="138097" cy="162264"/>
          </a:xfrm>
          <a:prstGeom prst="rect">
            <a:avLst/>
          </a:prstGeom>
        </p:spPr>
      </p:pic>
      <p:pic>
        <p:nvPicPr>
          <p:cNvPr id="14" name="Gráfico 13" descr="Matérias primas estrutura de tópicos">
            <a:extLst>
              <a:ext uri="{FF2B5EF4-FFF2-40B4-BE49-F238E27FC236}">
                <a16:creationId xmlns:a16="http://schemas.microsoft.com/office/drawing/2014/main" id="{8AD833E9-22C0-601A-0AE3-555FB8C3757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4457074" y="2993159"/>
            <a:ext cx="242954" cy="242954"/>
          </a:xfrm>
          <a:prstGeom prst="rect">
            <a:avLst/>
          </a:prstGeom>
        </p:spPr>
      </p:pic>
      <p:pic>
        <p:nvPicPr>
          <p:cNvPr id="15" name="Gráfico 14" descr="Ferramentas de mineração estrutura de tópicos">
            <a:extLst>
              <a:ext uri="{FF2B5EF4-FFF2-40B4-BE49-F238E27FC236}">
                <a16:creationId xmlns:a16="http://schemas.microsoft.com/office/drawing/2014/main" id="{CCA2FCD9-F510-D80C-4745-0BF4C8EDB2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4742849" y="2121862"/>
            <a:ext cx="242952" cy="242952"/>
          </a:xfrm>
          <a:prstGeom prst="rect">
            <a:avLst/>
          </a:prstGeom>
        </p:spPr>
      </p:pic>
      <p:pic>
        <p:nvPicPr>
          <p:cNvPr id="16" name="Gráfico 15" descr="Giroteodolito estrutura de tópicos">
            <a:extLst>
              <a:ext uri="{FF2B5EF4-FFF2-40B4-BE49-F238E27FC236}">
                <a16:creationId xmlns:a16="http://schemas.microsoft.com/office/drawing/2014/main" id="{F0FBC73D-E02E-FE83-D5BA-3DC8280E30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3805097" y="1382027"/>
            <a:ext cx="283735" cy="283735"/>
          </a:xfrm>
          <a:prstGeom prst="rect">
            <a:avLst/>
          </a:prstGeom>
        </p:spPr>
      </p:pic>
      <p:pic>
        <p:nvPicPr>
          <p:cNvPr id="17" name="Gráfico 16" descr="Trabalho estrutura de tópicos">
            <a:extLst>
              <a:ext uri="{FF2B5EF4-FFF2-40B4-BE49-F238E27FC236}">
                <a16:creationId xmlns:a16="http://schemas.microsoft.com/office/drawing/2014/main" id="{32532361-509B-7A46-B1D7-55CBC5498FC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3459014" y="2272264"/>
            <a:ext cx="242952" cy="242952"/>
          </a:xfrm>
          <a:prstGeom prst="rect">
            <a:avLst/>
          </a:prstGeom>
        </p:spPr>
      </p:pic>
      <p:pic>
        <p:nvPicPr>
          <p:cNvPr id="18" name="Gráfico 17" descr="Mapa da topografia estrutura de tópicos">
            <a:extLst>
              <a:ext uri="{FF2B5EF4-FFF2-40B4-BE49-F238E27FC236}">
                <a16:creationId xmlns:a16="http://schemas.microsoft.com/office/drawing/2014/main" id="{1BDC512B-4ED3-961D-76C0-58A033B4863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3383978" y="5325046"/>
            <a:ext cx="214270" cy="214270"/>
          </a:xfrm>
          <a:prstGeom prst="rect">
            <a:avLst/>
          </a:prstGeom>
        </p:spPr>
      </p:pic>
      <p:pic>
        <p:nvPicPr>
          <p:cNvPr id="19" name="Gráfico 18" descr="Caminhão de lixo estrutura de tópicos">
            <a:extLst>
              <a:ext uri="{FF2B5EF4-FFF2-40B4-BE49-F238E27FC236}">
                <a16:creationId xmlns:a16="http://schemas.microsoft.com/office/drawing/2014/main" id="{71A9711F-F456-49EE-5BF2-E847298745B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3596049" y="1112339"/>
            <a:ext cx="211834" cy="211834"/>
          </a:xfrm>
          <a:prstGeom prst="rect">
            <a:avLst/>
          </a:prstGeom>
        </p:spPr>
      </p:pic>
      <p:pic>
        <p:nvPicPr>
          <p:cNvPr id="20" name="Gráfico 19" descr="Área de Transferência estrutura de tópicos">
            <a:extLst>
              <a:ext uri="{FF2B5EF4-FFF2-40B4-BE49-F238E27FC236}">
                <a16:creationId xmlns:a16="http://schemas.microsoft.com/office/drawing/2014/main" id="{0B7D5D2B-E920-5228-5D71-03FA4EC24AB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2940699" y="5716455"/>
            <a:ext cx="199733" cy="199733"/>
          </a:xfrm>
          <a:prstGeom prst="rect">
            <a:avLst/>
          </a:prstGeom>
        </p:spPr>
      </p:pic>
      <p:pic>
        <p:nvPicPr>
          <p:cNvPr id="21" name="Gráfico 20" descr="Área de Transferência Marcada estrutura de tópicos">
            <a:extLst>
              <a:ext uri="{FF2B5EF4-FFF2-40B4-BE49-F238E27FC236}">
                <a16:creationId xmlns:a16="http://schemas.microsoft.com/office/drawing/2014/main" id="{F1D20945-8D16-40DE-2D51-2B7423C50A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4804579" y="3454273"/>
            <a:ext cx="274845" cy="274845"/>
          </a:xfrm>
          <a:prstGeom prst="rect">
            <a:avLst/>
          </a:prstGeom>
        </p:spPr>
      </p:pic>
      <p:pic>
        <p:nvPicPr>
          <p:cNvPr id="22" name="Gráfico 21" descr="Bússola estrutura de tópicos">
            <a:extLst>
              <a:ext uri="{FF2B5EF4-FFF2-40B4-BE49-F238E27FC236}">
                <a16:creationId xmlns:a16="http://schemas.microsoft.com/office/drawing/2014/main" id="{6C420177-92AA-84B7-F0A4-24F84B8716C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 flipH="1">
            <a:off x="14776828" y="3143563"/>
            <a:ext cx="274844" cy="274844"/>
          </a:xfrm>
          <a:prstGeom prst="rect">
            <a:avLst/>
          </a:prstGeom>
        </p:spPr>
      </p:pic>
      <p:pic>
        <p:nvPicPr>
          <p:cNvPr id="23" name="Gráfico 22" descr="Cristais estrutura de tópicos">
            <a:extLst>
              <a:ext uri="{FF2B5EF4-FFF2-40B4-BE49-F238E27FC236}">
                <a16:creationId xmlns:a16="http://schemas.microsoft.com/office/drawing/2014/main" id="{132D3788-0ED4-1DB7-6F66-701745F129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3302357" y="4851361"/>
            <a:ext cx="271075" cy="271075"/>
          </a:xfrm>
          <a:prstGeom prst="rect">
            <a:avLst/>
          </a:prstGeom>
        </p:spPr>
      </p:pic>
      <p:pic>
        <p:nvPicPr>
          <p:cNvPr id="24" name="Gráfico 23" descr="Trem de brinquedo estrutura de tópicos">
            <a:extLst>
              <a:ext uri="{FF2B5EF4-FFF2-40B4-BE49-F238E27FC236}">
                <a16:creationId xmlns:a16="http://schemas.microsoft.com/office/drawing/2014/main" id="{4C7606AE-ED0D-B3B7-E088-85E82B0974E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4114976" y="701726"/>
            <a:ext cx="211834" cy="211834"/>
          </a:xfrm>
          <a:prstGeom prst="rect">
            <a:avLst/>
          </a:prstGeom>
        </p:spPr>
      </p:pic>
      <p:pic>
        <p:nvPicPr>
          <p:cNvPr id="25" name="Gráfico 24" descr="Carrinho de mão estrutura de tópicos">
            <a:extLst>
              <a:ext uri="{FF2B5EF4-FFF2-40B4-BE49-F238E27FC236}">
                <a16:creationId xmlns:a16="http://schemas.microsoft.com/office/drawing/2014/main" id="{0BDD9D82-3131-3A33-2A53-896A4B66325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3714980" y="500417"/>
            <a:ext cx="293859" cy="293859"/>
          </a:xfrm>
          <a:prstGeom prst="rect">
            <a:avLst/>
          </a:prstGeom>
        </p:spPr>
      </p:pic>
      <p:pic>
        <p:nvPicPr>
          <p:cNvPr id="26" name="Gráfico 25" descr="Barras de ouro estrutura de tópicos">
            <a:extLst>
              <a:ext uri="{FF2B5EF4-FFF2-40B4-BE49-F238E27FC236}">
                <a16:creationId xmlns:a16="http://schemas.microsoft.com/office/drawing/2014/main" id="{8E3FCE5E-2E30-1A9B-329F-E68142982B5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4888604" y="2573070"/>
            <a:ext cx="242953" cy="242953"/>
          </a:xfrm>
          <a:prstGeom prst="rect">
            <a:avLst/>
          </a:prstGeom>
        </p:spPr>
      </p:pic>
      <p:pic>
        <p:nvPicPr>
          <p:cNvPr id="28" name="Gráfico 27" descr="Pote de ouro estrutura de tópicos">
            <a:extLst>
              <a:ext uri="{FF2B5EF4-FFF2-40B4-BE49-F238E27FC236}">
                <a16:creationId xmlns:a16="http://schemas.microsoft.com/office/drawing/2014/main" id="{CF9EE902-47A5-5A68-7DA4-26052033AE0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3325342" y="821010"/>
            <a:ext cx="255463" cy="255463"/>
          </a:xfrm>
          <a:prstGeom prst="rect">
            <a:avLst/>
          </a:prstGeom>
        </p:spPr>
      </p:pic>
      <p:pic>
        <p:nvPicPr>
          <p:cNvPr id="30" name="Gráfico 29" descr="Mapa do tesouro estrutura de tópicos">
            <a:extLst>
              <a:ext uri="{FF2B5EF4-FFF2-40B4-BE49-F238E27FC236}">
                <a16:creationId xmlns:a16="http://schemas.microsoft.com/office/drawing/2014/main" id="{01F3B905-75F9-0EED-E25B-960161825AA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4240517" y="4579957"/>
            <a:ext cx="220966" cy="220966"/>
          </a:xfrm>
          <a:prstGeom prst="rect">
            <a:avLst/>
          </a:prstGeom>
        </p:spPr>
      </p:pic>
      <p:pic>
        <p:nvPicPr>
          <p:cNvPr id="32" name="Gráfico 31" descr="Mapa com alfinete estrutura de tópicos">
            <a:extLst>
              <a:ext uri="{FF2B5EF4-FFF2-40B4-BE49-F238E27FC236}">
                <a16:creationId xmlns:a16="http://schemas.microsoft.com/office/drawing/2014/main" id="{B2220691-CCCA-00DE-BDC0-2065FABC5A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4339112" y="4116238"/>
            <a:ext cx="242953" cy="242953"/>
          </a:xfrm>
          <a:prstGeom prst="rect">
            <a:avLst/>
          </a:prstGeom>
        </p:spPr>
      </p:pic>
      <p:pic>
        <p:nvPicPr>
          <p:cNvPr id="33" name="Gráfico 32" descr="Trilhos de trem estrutura de tópicos">
            <a:extLst>
              <a:ext uri="{FF2B5EF4-FFF2-40B4-BE49-F238E27FC236}">
                <a16:creationId xmlns:a16="http://schemas.microsoft.com/office/drawing/2014/main" id="{29AA9D78-A40F-A0D5-94D8-EDF382D77D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4870878" y="2842757"/>
            <a:ext cx="242952" cy="242952"/>
          </a:xfrm>
          <a:prstGeom prst="rect">
            <a:avLst/>
          </a:prstGeom>
        </p:spPr>
      </p:pic>
      <p:pic>
        <p:nvPicPr>
          <p:cNvPr id="34" name="Gráfico 33" descr="Globo estrutura de tópicos">
            <a:extLst>
              <a:ext uri="{FF2B5EF4-FFF2-40B4-BE49-F238E27FC236}">
                <a16:creationId xmlns:a16="http://schemas.microsoft.com/office/drawing/2014/main" id="{D27B2EF7-9895-0618-8B6A-E080254CC6B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3577612" y="2422666"/>
            <a:ext cx="242954" cy="242954"/>
          </a:xfrm>
          <a:prstGeom prst="rect">
            <a:avLst/>
          </a:prstGeom>
        </p:spPr>
      </p:pic>
      <p:pic>
        <p:nvPicPr>
          <p:cNvPr id="35" name="Gráfico 34" descr="Mundo estrutura de tópicos">
            <a:extLst>
              <a:ext uri="{FF2B5EF4-FFF2-40B4-BE49-F238E27FC236}">
                <a16:creationId xmlns:a16="http://schemas.microsoft.com/office/drawing/2014/main" id="{6FF17257-CF5D-93EA-7C30-4BA9081BE2E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3567259" y="4417045"/>
            <a:ext cx="255462" cy="255462"/>
          </a:xfrm>
          <a:prstGeom prst="rect">
            <a:avLst/>
          </a:prstGeom>
        </p:spPr>
      </p:pic>
      <p:pic>
        <p:nvPicPr>
          <p:cNvPr id="36" name="Gráfico 35" descr="Bússola de mapa estrutura de tópicos">
            <a:extLst>
              <a:ext uri="{FF2B5EF4-FFF2-40B4-BE49-F238E27FC236}">
                <a16:creationId xmlns:a16="http://schemas.microsoft.com/office/drawing/2014/main" id="{5FAEB632-7EE6-0BF8-FAC3-DEE6E4D053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13946312" y="1725431"/>
            <a:ext cx="306686" cy="306686"/>
          </a:xfrm>
          <a:prstGeom prst="rect">
            <a:avLst/>
          </a:prstGeom>
        </p:spPr>
      </p:pic>
      <p:pic>
        <p:nvPicPr>
          <p:cNvPr id="37" name="Gráfico 36" descr="Cena de estrada estrutura de tópicos">
            <a:extLst>
              <a:ext uri="{FF2B5EF4-FFF2-40B4-BE49-F238E27FC236}">
                <a16:creationId xmlns:a16="http://schemas.microsoft.com/office/drawing/2014/main" id="{2355756D-5A01-3BF7-BB12-9B6B57C60F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 flipH="1">
            <a:off x="14440317" y="3636568"/>
            <a:ext cx="302532" cy="302532"/>
          </a:xfrm>
          <a:prstGeom prst="rect">
            <a:avLst/>
          </a:prstGeom>
        </p:spPr>
      </p:pic>
      <p:pic>
        <p:nvPicPr>
          <p:cNvPr id="38" name="Gráfico 37" descr="Compasso estrutura de tópicos">
            <a:extLst>
              <a:ext uri="{FF2B5EF4-FFF2-40B4-BE49-F238E27FC236}">
                <a16:creationId xmlns:a16="http://schemas.microsoft.com/office/drawing/2014/main" id="{FB18B9E5-4754-08C4-3E89-2B33637D03C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4578550" y="1573212"/>
            <a:ext cx="244769" cy="244769"/>
          </a:xfrm>
          <a:prstGeom prst="rect">
            <a:avLst/>
          </a:prstGeom>
        </p:spPr>
      </p:pic>
      <p:pic>
        <p:nvPicPr>
          <p:cNvPr id="39" name="Gráfico 38" descr="Trilhos de trem estrutura de tópicos">
            <a:extLst>
              <a:ext uri="{FF2B5EF4-FFF2-40B4-BE49-F238E27FC236}">
                <a16:creationId xmlns:a16="http://schemas.microsoft.com/office/drawing/2014/main" id="{C92C70C5-C2A6-A477-EEB8-601B8D205D8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4044071" y="5174644"/>
            <a:ext cx="242952" cy="242952"/>
          </a:xfrm>
          <a:prstGeom prst="rect">
            <a:avLst/>
          </a:prstGeom>
        </p:spPr>
      </p:pic>
      <p:pic>
        <p:nvPicPr>
          <p:cNvPr id="40" name="Gráfico 39" descr="Matérias primas estrutura de tópicos">
            <a:extLst>
              <a:ext uri="{FF2B5EF4-FFF2-40B4-BE49-F238E27FC236}">
                <a16:creationId xmlns:a16="http://schemas.microsoft.com/office/drawing/2014/main" id="{07B5BB62-52E0-DDBD-5DBB-1E49FF58450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4214120" y="1231623"/>
            <a:ext cx="242954" cy="242954"/>
          </a:xfrm>
          <a:prstGeom prst="rect">
            <a:avLst/>
          </a:prstGeom>
        </p:spPr>
      </p:pic>
      <p:pic>
        <p:nvPicPr>
          <p:cNvPr id="41" name="Gráfico 40" descr="Globo estrutura de tópicos">
            <a:extLst>
              <a:ext uri="{FF2B5EF4-FFF2-40B4-BE49-F238E27FC236}">
                <a16:creationId xmlns:a16="http://schemas.microsoft.com/office/drawing/2014/main" id="{9209910A-2692-51DA-CF5A-6C3BF9E6D9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4141174" y="3846550"/>
            <a:ext cx="242954" cy="242954"/>
          </a:xfrm>
          <a:prstGeom prst="rect">
            <a:avLst/>
          </a:prstGeom>
        </p:spPr>
      </p:pic>
      <p:pic>
        <p:nvPicPr>
          <p:cNvPr id="42" name="Gráfico 41" descr="Trem de brinquedo estrutura de tópicos">
            <a:extLst>
              <a:ext uri="{FF2B5EF4-FFF2-40B4-BE49-F238E27FC236}">
                <a16:creationId xmlns:a16="http://schemas.microsoft.com/office/drawing/2014/main" id="{6AF85600-9BD1-3F8C-3267-7560B21775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4265256" y="2723473"/>
            <a:ext cx="211834" cy="211834"/>
          </a:xfrm>
          <a:prstGeom prst="rect">
            <a:avLst/>
          </a:prstGeom>
        </p:spPr>
      </p:pic>
      <p:pic>
        <p:nvPicPr>
          <p:cNvPr id="43" name="Gráfico 42" descr="Matérias primas estrutura de tópicos">
            <a:extLst>
              <a:ext uri="{FF2B5EF4-FFF2-40B4-BE49-F238E27FC236}">
                <a16:creationId xmlns:a16="http://schemas.microsoft.com/office/drawing/2014/main" id="{8D8078A1-4EA2-7541-BFE3-B74B7BF001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3244075" y="5566050"/>
            <a:ext cx="242954" cy="242954"/>
          </a:xfrm>
          <a:prstGeom prst="rect">
            <a:avLst/>
          </a:prstGeom>
        </p:spPr>
      </p:pic>
      <p:pic>
        <p:nvPicPr>
          <p:cNvPr id="44" name="Gráfico 43" descr="Mapa do tesouro estrutura de tópicos">
            <a:extLst>
              <a:ext uri="{FF2B5EF4-FFF2-40B4-BE49-F238E27FC236}">
                <a16:creationId xmlns:a16="http://schemas.microsoft.com/office/drawing/2014/main" id="{7B951DF5-D3BC-6A46-7754-CF43BB05E3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3816433" y="983923"/>
            <a:ext cx="220966" cy="220966"/>
          </a:xfrm>
          <a:prstGeom prst="rect">
            <a:avLst/>
          </a:prstGeom>
        </p:spPr>
      </p:pic>
      <p:pic>
        <p:nvPicPr>
          <p:cNvPr id="45" name="Gráfico 44" descr="Área de Transferência Marcada estrutura de tópicos">
            <a:extLst>
              <a:ext uri="{FF2B5EF4-FFF2-40B4-BE49-F238E27FC236}">
                <a16:creationId xmlns:a16="http://schemas.microsoft.com/office/drawing/2014/main" id="{922D4BC0-55E5-940D-FBC9-7553451F6D0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4386567" y="1939567"/>
            <a:ext cx="274845" cy="274845"/>
          </a:xfrm>
          <a:prstGeom prst="rect">
            <a:avLst/>
          </a:prstGeom>
        </p:spPr>
      </p:pic>
      <p:pic>
        <p:nvPicPr>
          <p:cNvPr id="46" name="Gráfico 45" descr="Trem de brinquedo estrutura de tópicos">
            <a:extLst>
              <a:ext uri="{FF2B5EF4-FFF2-40B4-BE49-F238E27FC236}">
                <a16:creationId xmlns:a16="http://schemas.microsoft.com/office/drawing/2014/main" id="{4E44D481-2ED6-C84D-2C21-2412913B5C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4776828" y="3996954"/>
            <a:ext cx="211834" cy="211834"/>
          </a:xfrm>
          <a:prstGeom prst="rect">
            <a:avLst/>
          </a:prstGeom>
        </p:spPr>
      </p:pic>
      <p:pic>
        <p:nvPicPr>
          <p:cNvPr id="47" name="Gráfico 46" descr="Matérias primas estrutura de tópicos">
            <a:extLst>
              <a:ext uri="{FF2B5EF4-FFF2-40B4-BE49-F238E27FC236}">
                <a16:creationId xmlns:a16="http://schemas.microsoft.com/office/drawing/2014/main" id="{F41F90FD-58E5-06C9-88E1-02EE7679A3D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4477092" y="4266641"/>
            <a:ext cx="242954" cy="242954"/>
          </a:xfrm>
          <a:prstGeom prst="rect">
            <a:avLst/>
          </a:prstGeom>
        </p:spPr>
      </p:pic>
      <p:pic>
        <p:nvPicPr>
          <p:cNvPr id="48" name="Gráfico 47" descr="Mapa do tesouro estrutura de tópicos">
            <a:extLst>
              <a:ext uri="{FF2B5EF4-FFF2-40B4-BE49-F238E27FC236}">
                <a16:creationId xmlns:a16="http://schemas.microsoft.com/office/drawing/2014/main" id="{5A0884C7-11F4-27ED-CAA5-AC6B68E4326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4274679" y="3325857"/>
            <a:ext cx="220966" cy="220966"/>
          </a:xfrm>
          <a:prstGeom prst="rect">
            <a:avLst/>
          </a:prstGeom>
        </p:spPr>
      </p:pic>
      <p:pic>
        <p:nvPicPr>
          <p:cNvPr id="49" name="Gráfico 48" descr="Caminhão de lixo estrutura de tópicos">
            <a:extLst>
              <a:ext uri="{FF2B5EF4-FFF2-40B4-BE49-F238E27FC236}">
                <a16:creationId xmlns:a16="http://schemas.microsoft.com/office/drawing/2014/main" id="{B7AC7C5D-6CC1-8DCD-FFB2-D4571509E89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3037167" y="5446766"/>
            <a:ext cx="211834" cy="211834"/>
          </a:xfrm>
          <a:prstGeom prst="rect">
            <a:avLst/>
          </a:prstGeom>
        </p:spPr>
      </p:pic>
      <p:pic>
        <p:nvPicPr>
          <p:cNvPr id="50" name="Gráfico 49" descr="Bússola estrutura de tópicos">
            <a:extLst>
              <a:ext uri="{FF2B5EF4-FFF2-40B4-BE49-F238E27FC236}">
                <a16:creationId xmlns:a16="http://schemas.microsoft.com/office/drawing/2014/main" id="{828359E1-7125-2FE0-F0C7-5314016A455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 flipH="1">
            <a:off x="13021777" y="5029886"/>
            <a:ext cx="237308" cy="237308"/>
          </a:xfrm>
          <a:prstGeom prst="rect">
            <a:avLst/>
          </a:prstGeom>
        </p:spPr>
      </p:pic>
      <p:pic>
        <p:nvPicPr>
          <p:cNvPr id="51" name="Gráfico 50" descr="Globo estrutura de tópicos">
            <a:extLst>
              <a:ext uri="{FF2B5EF4-FFF2-40B4-BE49-F238E27FC236}">
                <a16:creationId xmlns:a16="http://schemas.microsoft.com/office/drawing/2014/main" id="{C99849C7-4D12-C2B0-FFA0-90637BCC0E3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3959598" y="4708373"/>
            <a:ext cx="235538" cy="235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014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  <p:sldLayoutId id="2147484021" r:id="rId12"/>
    <p:sldLayoutId id="2147484022" r:id="rId13"/>
    <p:sldLayoutId id="2147484023" r:id="rId14"/>
    <p:sldLayoutId id="2147484024" r:id="rId15"/>
    <p:sldLayoutId id="2147484025" r:id="rId16"/>
    <p:sldLayoutId id="2147484026" r:id="rId17"/>
    <p:sldLayoutId id="2147484027" r:id="rId18"/>
    <p:sldLayoutId id="2147484028" r:id="rId19"/>
    <p:sldLayoutId id="2147484029" r:id="rId20"/>
    <p:sldLayoutId id="2147484030" r:id="rId21"/>
    <p:sldLayoutId id="2147484031" r:id="rId22"/>
    <p:sldLayoutId id="2147484032" r:id="rId23"/>
    <p:sldLayoutId id="2147484033" r:id="rId24"/>
    <p:sldLayoutId id="2147484034" r:id="rId25"/>
    <p:sldLayoutId id="2147484035" r:id="rId26"/>
    <p:sldLayoutId id="2147484036" r:id="rId27"/>
    <p:sldLayoutId id="2147484037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spc="-4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2000"/>
        </a:spcBef>
        <a:spcAft>
          <a:spcPts val="500"/>
        </a:spcAft>
        <a:buFont typeface="Arial" panose="020B0604020202020204" pitchFamily="34" charset="0"/>
        <a:buNone/>
        <a:defRPr sz="17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936000" indent="288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lang="pt-BR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576">
          <p15:clr>
            <a:srgbClr val="F26B43"/>
          </p15:clr>
        </p15:guide>
        <p15:guide id="4" pos="988">
          <p15:clr>
            <a:srgbClr val="F26B43"/>
          </p15:clr>
        </p15:guide>
        <p15:guide id="5" pos="1141">
          <p15:clr>
            <a:srgbClr val="F26B43"/>
          </p15:clr>
        </p15:guide>
        <p15:guide id="6" pos="1544">
          <p15:clr>
            <a:srgbClr val="F26B43"/>
          </p15:clr>
        </p15:guide>
        <p15:guide id="7" pos="1688">
          <p15:clr>
            <a:srgbClr val="F26B43"/>
          </p15:clr>
        </p15:guide>
        <p15:guide id="8" pos="2100">
          <p15:clr>
            <a:srgbClr val="F26B43"/>
          </p15:clr>
        </p15:guide>
        <p15:guide id="9" pos="2244">
          <p15:clr>
            <a:srgbClr val="F26B43"/>
          </p15:clr>
        </p15:guide>
        <p15:guide id="10" pos="2656">
          <p15:clr>
            <a:srgbClr val="F26B43"/>
          </p15:clr>
        </p15:guide>
        <p15:guide id="11" pos="2800">
          <p15:clr>
            <a:srgbClr val="F26B43"/>
          </p15:clr>
        </p15:guide>
        <p15:guide id="12" pos="3212">
          <p15:clr>
            <a:srgbClr val="F26B43"/>
          </p15:clr>
        </p15:guide>
        <p15:guide id="13" pos="3356">
          <p15:clr>
            <a:srgbClr val="F26B43"/>
          </p15:clr>
        </p15:guide>
        <p15:guide id="14" pos="3768">
          <p15:clr>
            <a:srgbClr val="F26B43"/>
          </p15:clr>
        </p15:guide>
        <p15:guide id="15" pos="3912">
          <p15:clr>
            <a:srgbClr val="F26B43"/>
          </p15:clr>
        </p15:guide>
        <p15:guide id="16" pos="4324">
          <p15:clr>
            <a:srgbClr val="F26B43"/>
          </p15:clr>
        </p15:guide>
        <p15:guide id="17" pos="4468">
          <p15:clr>
            <a:srgbClr val="F26B43"/>
          </p15:clr>
        </p15:guide>
        <p15:guide id="18" pos="4880">
          <p15:clr>
            <a:srgbClr val="F26B43"/>
          </p15:clr>
        </p15:guide>
        <p15:guide id="19" pos="5024">
          <p15:clr>
            <a:srgbClr val="F26B43"/>
          </p15:clr>
        </p15:guide>
        <p15:guide id="20" pos="5436">
          <p15:clr>
            <a:srgbClr val="F26B43"/>
          </p15:clr>
        </p15:guide>
        <p15:guide id="21" pos="5580">
          <p15:clr>
            <a:srgbClr val="F26B43"/>
          </p15:clr>
        </p15:guide>
        <p15:guide id="22" pos="5992">
          <p15:clr>
            <a:srgbClr val="F26B43"/>
          </p15:clr>
        </p15:guide>
        <p15:guide id="23" pos="6136">
          <p15:clr>
            <a:srgbClr val="F26B43"/>
          </p15:clr>
        </p15:guide>
        <p15:guide id="24" pos="6548">
          <p15:clr>
            <a:srgbClr val="F26B43"/>
          </p15:clr>
        </p15:guide>
        <p15:guide id="25" pos="6692">
          <p15:clr>
            <a:srgbClr val="F26B43"/>
          </p15:clr>
        </p15:guide>
        <p15:guide id="26" pos="7104">
          <p15:clr>
            <a:srgbClr val="F26B43"/>
          </p15:clr>
        </p15:guide>
        <p15:guide id="27" orient="horz">
          <p15:clr>
            <a:srgbClr val="F26B43"/>
          </p15:clr>
        </p15:guide>
        <p15:guide id="28" orient="horz" pos="4320">
          <p15:clr>
            <a:srgbClr val="F26B43"/>
          </p15:clr>
        </p15:guide>
        <p15:guide id="29" orient="horz" pos="403">
          <p15:clr>
            <a:srgbClr val="F26B43"/>
          </p15:clr>
        </p15:guide>
        <p15:guide id="30" orient="horz" pos="716">
          <p15:clr>
            <a:srgbClr val="F26B43"/>
          </p15:clr>
        </p15:guide>
        <p15:guide id="31" orient="horz" pos="860">
          <p15:clr>
            <a:srgbClr val="F26B43"/>
          </p15:clr>
        </p15:guide>
        <p15:guide id="32" orient="horz" pos="1173">
          <p15:clr>
            <a:srgbClr val="F26B43"/>
          </p15:clr>
        </p15:guide>
        <p15:guide id="33" orient="horz" pos="1317">
          <p15:clr>
            <a:srgbClr val="F26B43"/>
          </p15:clr>
        </p15:guide>
        <p15:guide id="34" orient="horz" pos="1630">
          <p15:clr>
            <a:srgbClr val="F26B43"/>
          </p15:clr>
        </p15:guide>
        <p15:guide id="35" orient="horz" pos="1774">
          <p15:clr>
            <a:srgbClr val="F26B43"/>
          </p15:clr>
        </p15:guide>
        <p15:guide id="36" orient="horz" pos="2088">
          <p15:clr>
            <a:srgbClr val="F26B43"/>
          </p15:clr>
        </p15:guide>
        <p15:guide id="37" orient="horz" pos="2232">
          <p15:clr>
            <a:srgbClr val="F26B43"/>
          </p15:clr>
        </p15:guide>
        <p15:guide id="38" orient="horz" pos="2545">
          <p15:clr>
            <a:srgbClr val="F26B43"/>
          </p15:clr>
        </p15:guide>
        <p15:guide id="39" orient="horz" pos="2689">
          <p15:clr>
            <a:srgbClr val="F26B43"/>
          </p15:clr>
        </p15:guide>
        <p15:guide id="40" orient="horz" pos="3002">
          <p15:clr>
            <a:srgbClr val="F26B43"/>
          </p15:clr>
        </p15:guide>
        <p15:guide id="41" orient="horz" pos="3146">
          <p15:clr>
            <a:srgbClr val="F26B43"/>
          </p15:clr>
        </p15:guide>
        <p15:guide id="42" orient="horz" pos="3459">
          <p15:clr>
            <a:srgbClr val="F26B43"/>
          </p15:clr>
        </p15:guide>
        <p15:guide id="43" orient="horz" pos="3603">
          <p15:clr>
            <a:srgbClr val="F26B43"/>
          </p15:clr>
        </p15:guide>
        <p15:guide id="44" orient="horz" pos="391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Gray">
      <p:bgPr>
        <a:solidFill>
          <a:srgbClr val="F3F5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35B6F9-052D-01EC-95D7-2A59F7A5C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31298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3" imgW="425" imgH="424" progId="TCLayout.ActiveDocument.1">
                  <p:embed/>
                </p:oleObj>
              </mc:Choice>
              <mc:Fallback>
                <p:oleObj name="Slide do think-cell" r:id="rId4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35B6F9-052D-01EC-95D7-2A59F7A5C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1375562-E38E-3A5D-DD5E-76EE13574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1037"/>
            <a:ext cx="10363200" cy="128111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9C89F05-6560-FB4B-012E-55287B7FDE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2090738"/>
            <a:ext cx="10363200" cy="40862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Segundo nível</a:t>
            </a:r>
          </a:p>
          <a:p>
            <a:pPr marL="792000" marR="0" lvl="2" indent="-2880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tabLst/>
              <a:defRPr/>
            </a:pPr>
            <a:endParaRPr lang="pt-BR"/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BF552152-09DD-4754-E8EA-28C8CDC581E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"/>
            <a:ext cx="711200" cy="542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45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61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112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45BB3BD-7CE9-F565-F21C-426C7596E71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621506"/>
            <a:ext cx="711200" cy="533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900" b="1">
                <a:solidFill>
                  <a:schemeClr val="bg1"/>
                </a:solidFill>
              </a:rPr>
              <a:t> R 244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 G 97</a:t>
            </a:r>
          </a:p>
          <a:p>
            <a:pPr lvl="0" algn="r"/>
            <a:r>
              <a:rPr lang="en-US" sz="900" b="1">
                <a:solidFill>
                  <a:schemeClr val="bg1"/>
                </a:solidFill>
              </a:rPr>
              <a:t>B 77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F7F9F265-89D1-78AC-55E6-238CE5D4A1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806451" y="1233488"/>
            <a:ext cx="711200" cy="542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900" b="1">
                <a:solidFill>
                  <a:schemeClr val="bg1"/>
                </a:solidFill>
              </a:rPr>
              <a:t>R 176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G 183</a:t>
            </a:r>
          </a:p>
          <a:p>
            <a:pPr algn="r"/>
            <a:r>
              <a:rPr lang="en-US" sz="900" b="1">
                <a:solidFill>
                  <a:schemeClr val="bg1"/>
                </a:solidFill>
              </a:rPr>
              <a:t>B 193</a:t>
            </a:r>
          </a:p>
        </p:txBody>
      </p:sp>
      <p:pic>
        <p:nvPicPr>
          <p:cNvPr id="27" name="Gráfico 26">
            <a:extLst>
              <a:ext uri="{FF2B5EF4-FFF2-40B4-BE49-F238E27FC236}">
                <a16:creationId xmlns:a16="http://schemas.microsoft.com/office/drawing/2014/main" id="{31F32912-5504-1525-E4B7-761D37AF19E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-806451" y="2343150"/>
            <a:ext cx="711200" cy="417743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6CA5DEA4-EEAB-3449-C3DD-83C8AC4487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-806451" y="2760893"/>
            <a:ext cx="711200" cy="334885"/>
          </a:xfrm>
          <a:prstGeom prst="rect">
            <a:avLst/>
          </a:prstGeom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B90C53BE-8249-C3B9-7787-556D2CC1322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-233348" y="3254590"/>
            <a:ext cx="138097" cy="162264"/>
          </a:xfrm>
          <a:prstGeom prst="rect">
            <a:avLst/>
          </a:prstGeom>
        </p:spPr>
      </p:pic>
      <p:pic>
        <p:nvPicPr>
          <p:cNvPr id="14" name="Gráfico 13" descr="Matérias primas estrutura de tópicos">
            <a:extLst>
              <a:ext uri="{FF2B5EF4-FFF2-40B4-BE49-F238E27FC236}">
                <a16:creationId xmlns:a16="http://schemas.microsoft.com/office/drawing/2014/main" id="{8AD833E9-22C0-601A-0AE3-555FB8C3757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4457074" y="2993159"/>
            <a:ext cx="242954" cy="242954"/>
          </a:xfrm>
          <a:prstGeom prst="rect">
            <a:avLst/>
          </a:prstGeom>
        </p:spPr>
      </p:pic>
      <p:pic>
        <p:nvPicPr>
          <p:cNvPr id="15" name="Gráfico 14" descr="Ferramentas de mineração estrutura de tópicos">
            <a:extLst>
              <a:ext uri="{FF2B5EF4-FFF2-40B4-BE49-F238E27FC236}">
                <a16:creationId xmlns:a16="http://schemas.microsoft.com/office/drawing/2014/main" id="{CCA2FCD9-F510-D80C-4745-0BF4C8EDB2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4742849" y="2121862"/>
            <a:ext cx="242952" cy="242952"/>
          </a:xfrm>
          <a:prstGeom prst="rect">
            <a:avLst/>
          </a:prstGeom>
        </p:spPr>
      </p:pic>
      <p:pic>
        <p:nvPicPr>
          <p:cNvPr id="16" name="Gráfico 15" descr="Giroteodolito estrutura de tópicos">
            <a:extLst>
              <a:ext uri="{FF2B5EF4-FFF2-40B4-BE49-F238E27FC236}">
                <a16:creationId xmlns:a16="http://schemas.microsoft.com/office/drawing/2014/main" id="{F0FBC73D-E02E-FE83-D5BA-3DC8280E30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3805097" y="1382027"/>
            <a:ext cx="283735" cy="283735"/>
          </a:xfrm>
          <a:prstGeom prst="rect">
            <a:avLst/>
          </a:prstGeom>
        </p:spPr>
      </p:pic>
      <p:pic>
        <p:nvPicPr>
          <p:cNvPr id="17" name="Gráfico 16" descr="Trabalho estrutura de tópicos">
            <a:extLst>
              <a:ext uri="{FF2B5EF4-FFF2-40B4-BE49-F238E27FC236}">
                <a16:creationId xmlns:a16="http://schemas.microsoft.com/office/drawing/2014/main" id="{32532361-509B-7A46-B1D7-55CBC5498FC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3459014" y="2272264"/>
            <a:ext cx="242952" cy="242952"/>
          </a:xfrm>
          <a:prstGeom prst="rect">
            <a:avLst/>
          </a:prstGeom>
        </p:spPr>
      </p:pic>
      <p:pic>
        <p:nvPicPr>
          <p:cNvPr id="18" name="Gráfico 17" descr="Mapa da topografia estrutura de tópicos">
            <a:extLst>
              <a:ext uri="{FF2B5EF4-FFF2-40B4-BE49-F238E27FC236}">
                <a16:creationId xmlns:a16="http://schemas.microsoft.com/office/drawing/2014/main" id="{1BDC512B-4ED3-961D-76C0-58A033B4863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3383978" y="5325046"/>
            <a:ext cx="214270" cy="214270"/>
          </a:xfrm>
          <a:prstGeom prst="rect">
            <a:avLst/>
          </a:prstGeom>
        </p:spPr>
      </p:pic>
      <p:pic>
        <p:nvPicPr>
          <p:cNvPr id="19" name="Gráfico 18" descr="Caminhão de lixo estrutura de tópicos">
            <a:extLst>
              <a:ext uri="{FF2B5EF4-FFF2-40B4-BE49-F238E27FC236}">
                <a16:creationId xmlns:a16="http://schemas.microsoft.com/office/drawing/2014/main" id="{71A9711F-F456-49EE-5BF2-E847298745B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3596049" y="1112339"/>
            <a:ext cx="211834" cy="211834"/>
          </a:xfrm>
          <a:prstGeom prst="rect">
            <a:avLst/>
          </a:prstGeom>
        </p:spPr>
      </p:pic>
      <p:pic>
        <p:nvPicPr>
          <p:cNvPr id="20" name="Gráfico 19" descr="Área de Transferência estrutura de tópicos">
            <a:extLst>
              <a:ext uri="{FF2B5EF4-FFF2-40B4-BE49-F238E27FC236}">
                <a16:creationId xmlns:a16="http://schemas.microsoft.com/office/drawing/2014/main" id="{0B7D5D2B-E920-5228-5D71-03FA4EC24AB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2940699" y="5716455"/>
            <a:ext cx="199733" cy="199733"/>
          </a:xfrm>
          <a:prstGeom prst="rect">
            <a:avLst/>
          </a:prstGeom>
        </p:spPr>
      </p:pic>
      <p:pic>
        <p:nvPicPr>
          <p:cNvPr id="21" name="Gráfico 20" descr="Área de Transferência Marcada estrutura de tópicos">
            <a:extLst>
              <a:ext uri="{FF2B5EF4-FFF2-40B4-BE49-F238E27FC236}">
                <a16:creationId xmlns:a16="http://schemas.microsoft.com/office/drawing/2014/main" id="{F1D20945-8D16-40DE-2D51-2B7423C50A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14804579" y="3454273"/>
            <a:ext cx="274845" cy="274845"/>
          </a:xfrm>
          <a:prstGeom prst="rect">
            <a:avLst/>
          </a:prstGeom>
        </p:spPr>
      </p:pic>
      <p:pic>
        <p:nvPicPr>
          <p:cNvPr id="22" name="Gráfico 21" descr="Bússola estrutura de tópicos">
            <a:extLst>
              <a:ext uri="{FF2B5EF4-FFF2-40B4-BE49-F238E27FC236}">
                <a16:creationId xmlns:a16="http://schemas.microsoft.com/office/drawing/2014/main" id="{6C420177-92AA-84B7-F0A4-24F84B8716C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 flipH="1">
            <a:off x="14776828" y="3143563"/>
            <a:ext cx="274844" cy="274844"/>
          </a:xfrm>
          <a:prstGeom prst="rect">
            <a:avLst/>
          </a:prstGeom>
        </p:spPr>
      </p:pic>
      <p:pic>
        <p:nvPicPr>
          <p:cNvPr id="23" name="Gráfico 22" descr="Cristais estrutura de tópicos">
            <a:extLst>
              <a:ext uri="{FF2B5EF4-FFF2-40B4-BE49-F238E27FC236}">
                <a16:creationId xmlns:a16="http://schemas.microsoft.com/office/drawing/2014/main" id="{132D3788-0ED4-1DB7-6F66-701745F129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3302357" y="4851361"/>
            <a:ext cx="271075" cy="271075"/>
          </a:xfrm>
          <a:prstGeom prst="rect">
            <a:avLst/>
          </a:prstGeom>
        </p:spPr>
      </p:pic>
      <p:pic>
        <p:nvPicPr>
          <p:cNvPr id="24" name="Gráfico 23" descr="Trem de brinquedo estrutura de tópicos">
            <a:extLst>
              <a:ext uri="{FF2B5EF4-FFF2-40B4-BE49-F238E27FC236}">
                <a16:creationId xmlns:a16="http://schemas.microsoft.com/office/drawing/2014/main" id="{4C7606AE-ED0D-B3B7-E088-85E82B0974E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4114976" y="701726"/>
            <a:ext cx="211834" cy="211834"/>
          </a:xfrm>
          <a:prstGeom prst="rect">
            <a:avLst/>
          </a:prstGeom>
        </p:spPr>
      </p:pic>
      <p:pic>
        <p:nvPicPr>
          <p:cNvPr id="25" name="Gráfico 24" descr="Carrinho de mão estrutura de tópicos">
            <a:extLst>
              <a:ext uri="{FF2B5EF4-FFF2-40B4-BE49-F238E27FC236}">
                <a16:creationId xmlns:a16="http://schemas.microsoft.com/office/drawing/2014/main" id="{0BDD9D82-3131-3A33-2A53-896A4B66325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13714980" y="500417"/>
            <a:ext cx="293859" cy="293859"/>
          </a:xfrm>
          <a:prstGeom prst="rect">
            <a:avLst/>
          </a:prstGeom>
        </p:spPr>
      </p:pic>
      <p:pic>
        <p:nvPicPr>
          <p:cNvPr id="26" name="Gráfico 25" descr="Barras de ouro estrutura de tópicos">
            <a:extLst>
              <a:ext uri="{FF2B5EF4-FFF2-40B4-BE49-F238E27FC236}">
                <a16:creationId xmlns:a16="http://schemas.microsoft.com/office/drawing/2014/main" id="{8E3FCE5E-2E30-1A9B-329F-E68142982B5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4888604" y="2573070"/>
            <a:ext cx="242953" cy="242953"/>
          </a:xfrm>
          <a:prstGeom prst="rect">
            <a:avLst/>
          </a:prstGeom>
        </p:spPr>
      </p:pic>
      <p:pic>
        <p:nvPicPr>
          <p:cNvPr id="28" name="Gráfico 27" descr="Pote de ouro estrutura de tópicos">
            <a:extLst>
              <a:ext uri="{FF2B5EF4-FFF2-40B4-BE49-F238E27FC236}">
                <a16:creationId xmlns:a16="http://schemas.microsoft.com/office/drawing/2014/main" id="{CF9EE902-47A5-5A68-7DA4-26052033AE0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3325342" y="821010"/>
            <a:ext cx="255463" cy="255463"/>
          </a:xfrm>
          <a:prstGeom prst="rect">
            <a:avLst/>
          </a:prstGeom>
        </p:spPr>
      </p:pic>
      <p:pic>
        <p:nvPicPr>
          <p:cNvPr id="30" name="Gráfico 29" descr="Mapa do tesouro estrutura de tópicos">
            <a:extLst>
              <a:ext uri="{FF2B5EF4-FFF2-40B4-BE49-F238E27FC236}">
                <a16:creationId xmlns:a16="http://schemas.microsoft.com/office/drawing/2014/main" id="{01F3B905-75F9-0EED-E25B-960161825AA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4240517" y="4579957"/>
            <a:ext cx="220966" cy="220966"/>
          </a:xfrm>
          <a:prstGeom prst="rect">
            <a:avLst/>
          </a:prstGeom>
        </p:spPr>
      </p:pic>
      <p:pic>
        <p:nvPicPr>
          <p:cNvPr id="32" name="Gráfico 31" descr="Mapa com alfinete estrutura de tópicos">
            <a:extLst>
              <a:ext uri="{FF2B5EF4-FFF2-40B4-BE49-F238E27FC236}">
                <a16:creationId xmlns:a16="http://schemas.microsoft.com/office/drawing/2014/main" id="{B2220691-CCCA-00DE-BDC0-2065FABC5A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4339112" y="4116238"/>
            <a:ext cx="242953" cy="242953"/>
          </a:xfrm>
          <a:prstGeom prst="rect">
            <a:avLst/>
          </a:prstGeom>
        </p:spPr>
      </p:pic>
      <p:pic>
        <p:nvPicPr>
          <p:cNvPr id="33" name="Gráfico 32" descr="Trilhos de trem estrutura de tópicos">
            <a:extLst>
              <a:ext uri="{FF2B5EF4-FFF2-40B4-BE49-F238E27FC236}">
                <a16:creationId xmlns:a16="http://schemas.microsoft.com/office/drawing/2014/main" id="{29AA9D78-A40F-A0D5-94D8-EDF382D77DA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4870878" y="2842757"/>
            <a:ext cx="242952" cy="242952"/>
          </a:xfrm>
          <a:prstGeom prst="rect">
            <a:avLst/>
          </a:prstGeom>
        </p:spPr>
      </p:pic>
      <p:pic>
        <p:nvPicPr>
          <p:cNvPr id="34" name="Gráfico 33" descr="Globo estrutura de tópicos">
            <a:extLst>
              <a:ext uri="{FF2B5EF4-FFF2-40B4-BE49-F238E27FC236}">
                <a16:creationId xmlns:a16="http://schemas.microsoft.com/office/drawing/2014/main" id="{D27B2EF7-9895-0618-8B6A-E080254CC6B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13577612" y="2422666"/>
            <a:ext cx="242954" cy="242954"/>
          </a:xfrm>
          <a:prstGeom prst="rect">
            <a:avLst/>
          </a:prstGeom>
        </p:spPr>
      </p:pic>
      <p:pic>
        <p:nvPicPr>
          <p:cNvPr id="35" name="Gráfico 34" descr="Mundo estrutura de tópicos">
            <a:extLst>
              <a:ext uri="{FF2B5EF4-FFF2-40B4-BE49-F238E27FC236}">
                <a16:creationId xmlns:a16="http://schemas.microsoft.com/office/drawing/2014/main" id="{6FF17257-CF5D-93EA-7C30-4BA9081BE2E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3567259" y="4417045"/>
            <a:ext cx="255462" cy="255462"/>
          </a:xfrm>
          <a:prstGeom prst="rect">
            <a:avLst/>
          </a:prstGeom>
        </p:spPr>
      </p:pic>
      <p:pic>
        <p:nvPicPr>
          <p:cNvPr id="36" name="Gráfico 35" descr="Bússola de mapa estrutura de tópicos">
            <a:extLst>
              <a:ext uri="{FF2B5EF4-FFF2-40B4-BE49-F238E27FC236}">
                <a16:creationId xmlns:a16="http://schemas.microsoft.com/office/drawing/2014/main" id="{5FAEB632-7EE6-0BF8-FAC3-DEE6E4D053F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3946312" y="1725431"/>
            <a:ext cx="306686" cy="306686"/>
          </a:xfrm>
          <a:prstGeom prst="rect">
            <a:avLst/>
          </a:prstGeom>
        </p:spPr>
      </p:pic>
      <p:pic>
        <p:nvPicPr>
          <p:cNvPr id="37" name="Gráfico 36" descr="Cena de estrada estrutura de tópicos">
            <a:extLst>
              <a:ext uri="{FF2B5EF4-FFF2-40B4-BE49-F238E27FC236}">
                <a16:creationId xmlns:a16="http://schemas.microsoft.com/office/drawing/2014/main" id="{2355756D-5A01-3BF7-BB12-9B6B57C60F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 flipH="1">
            <a:off x="14440317" y="3636568"/>
            <a:ext cx="302532" cy="302532"/>
          </a:xfrm>
          <a:prstGeom prst="rect">
            <a:avLst/>
          </a:prstGeom>
        </p:spPr>
      </p:pic>
      <p:pic>
        <p:nvPicPr>
          <p:cNvPr id="38" name="Gráfico 37" descr="Compasso estrutura de tópicos">
            <a:extLst>
              <a:ext uri="{FF2B5EF4-FFF2-40B4-BE49-F238E27FC236}">
                <a16:creationId xmlns:a16="http://schemas.microsoft.com/office/drawing/2014/main" id="{FB18B9E5-4754-08C4-3E89-2B33637D03C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4578550" y="1573212"/>
            <a:ext cx="244769" cy="244769"/>
          </a:xfrm>
          <a:prstGeom prst="rect">
            <a:avLst/>
          </a:prstGeom>
        </p:spPr>
      </p:pic>
      <p:pic>
        <p:nvPicPr>
          <p:cNvPr id="39" name="Gráfico 38" descr="Trilhos de trem estrutura de tópicos">
            <a:extLst>
              <a:ext uri="{FF2B5EF4-FFF2-40B4-BE49-F238E27FC236}">
                <a16:creationId xmlns:a16="http://schemas.microsoft.com/office/drawing/2014/main" id="{C92C70C5-C2A6-A477-EEB8-601B8D205D8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4044071" y="5174644"/>
            <a:ext cx="242952" cy="242952"/>
          </a:xfrm>
          <a:prstGeom prst="rect">
            <a:avLst/>
          </a:prstGeom>
        </p:spPr>
      </p:pic>
      <p:pic>
        <p:nvPicPr>
          <p:cNvPr id="40" name="Gráfico 39" descr="Matérias primas estrutura de tópicos">
            <a:extLst>
              <a:ext uri="{FF2B5EF4-FFF2-40B4-BE49-F238E27FC236}">
                <a16:creationId xmlns:a16="http://schemas.microsoft.com/office/drawing/2014/main" id="{07B5BB62-52E0-DDBD-5DBB-1E49FF58450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4214120" y="1231623"/>
            <a:ext cx="242954" cy="242954"/>
          </a:xfrm>
          <a:prstGeom prst="rect">
            <a:avLst/>
          </a:prstGeom>
        </p:spPr>
      </p:pic>
      <p:pic>
        <p:nvPicPr>
          <p:cNvPr id="41" name="Gráfico 40" descr="Globo estrutura de tópicos">
            <a:extLst>
              <a:ext uri="{FF2B5EF4-FFF2-40B4-BE49-F238E27FC236}">
                <a16:creationId xmlns:a16="http://schemas.microsoft.com/office/drawing/2014/main" id="{9209910A-2692-51DA-CF5A-6C3BF9E6D9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14141174" y="3846550"/>
            <a:ext cx="242954" cy="242954"/>
          </a:xfrm>
          <a:prstGeom prst="rect">
            <a:avLst/>
          </a:prstGeom>
        </p:spPr>
      </p:pic>
      <p:pic>
        <p:nvPicPr>
          <p:cNvPr id="42" name="Gráfico 41" descr="Trem de brinquedo estrutura de tópicos">
            <a:extLst>
              <a:ext uri="{FF2B5EF4-FFF2-40B4-BE49-F238E27FC236}">
                <a16:creationId xmlns:a16="http://schemas.microsoft.com/office/drawing/2014/main" id="{6AF85600-9BD1-3F8C-3267-7560B21775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4265256" y="2723473"/>
            <a:ext cx="211834" cy="211834"/>
          </a:xfrm>
          <a:prstGeom prst="rect">
            <a:avLst/>
          </a:prstGeom>
        </p:spPr>
      </p:pic>
      <p:pic>
        <p:nvPicPr>
          <p:cNvPr id="43" name="Gráfico 42" descr="Matérias primas estrutura de tópicos">
            <a:extLst>
              <a:ext uri="{FF2B5EF4-FFF2-40B4-BE49-F238E27FC236}">
                <a16:creationId xmlns:a16="http://schemas.microsoft.com/office/drawing/2014/main" id="{8D8078A1-4EA2-7541-BFE3-B74B7BF001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3244075" y="5566050"/>
            <a:ext cx="242954" cy="242954"/>
          </a:xfrm>
          <a:prstGeom prst="rect">
            <a:avLst/>
          </a:prstGeom>
        </p:spPr>
      </p:pic>
      <p:pic>
        <p:nvPicPr>
          <p:cNvPr id="44" name="Gráfico 43" descr="Mapa do tesouro estrutura de tópicos">
            <a:extLst>
              <a:ext uri="{FF2B5EF4-FFF2-40B4-BE49-F238E27FC236}">
                <a16:creationId xmlns:a16="http://schemas.microsoft.com/office/drawing/2014/main" id="{7B951DF5-D3BC-6A46-7754-CF43BB05E3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3816433" y="983923"/>
            <a:ext cx="220966" cy="220966"/>
          </a:xfrm>
          <a:prstGeom prst="rect">
            <a:avLst/>
          </a:prstGeom>
        </p:spPr>
      </p:pic>
      <p:pic>
        <p:nvPicPr>
          <p:cNvPr id="45" name="Gráfico 44" descr="Área de Transferência Marcada estrutura de tópicos">
            <a:extLst>
              <a:ext uri="{FF2B5EF4-FFF2-40B4-BE49-F238E27FC236}">
                <a16:creationId xmlns:a16="http://schemas.microsoft.com/office/drawing/2014/main" id="{922D4BC0-55E5-940D-FBC9-7553451F6D0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14386567" y="1939567"/>
            <a:ext cx="274845" cy="274845"/>
          </a:xfrm>
          <a:prstGeom prst="rect">
            <a:avLst/>
          </a:prstGeom>
        </p:spPr>
      </p:pic>
      <p:pic>
        <p:nvPicPr>
          <p:cNvPr id="46" name="Gráfico 45" descr="Trem de brinquedo estrutura de tópicos">
            <a:extLst>
              <a:ext uri="{FF2B5EF4-FFF2-40B4-BE49-F238E27FC236}">
                <a16:creationId xmlns:a16="http://schemas.microsoft.com/office/drawing/2014/main" id="{4E44D481-2ED6-C84D-2C21-2412913B5C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4776828" y="3996954"/>
            <a:ext cx="211834" cy="211834"/>
          </a:xfrm>
          <a:prstGeom prst="rect">
            <a:avLst/>
          </a:prstGeom>
        </p:spPr>
      </p:pic>
      <p:pic>
        <p:nvPicPr>
          <p:cNvPr id="47" name="Gráfico 46" descr="Matérias primas estrutura de tópicos">
            <a:extLst>
              <a:ext uri="{FF2B5EF4-FFF2-40B4-BE49-F238E27FC236}">
                <a16:creationId xmlns:a16="http://schemas.microsoft.com/office/drawing/2014/main" id="{F41F90FD-58E5-06C9-88E1-02EE7679A3D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4477092" y="4266641"/>
            <a:ext cx="242954" cy="242954"/>
          </a:xfrm>
          <a:prstGeom prst="rect">
            <a:avLst/>
          </a:prstGeom>
        </p:spPr>
      </p:pic>
      <p:pic>
        <p:nvPicPr>
          <p:cNvPr id="48" name="Gráfico 47" descr="Mapa do tesouro estrutura de tópicos">
            <a:extLst>
              <a:ext uri="{FF2B5EF4-FFF2-40B4-BE49-F238E27FC236}">
                <a16:creationId xmlns:a16="http://schemas.microsoft.com/office/drawing/2014/main" id="{5A0884C7-11F4-27ED-CAA5-AC6B68E4326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4274679" y="3325857"/>
            <a:ext cx="220966" cy="220966"/>
          </a:xfrm>
          <a:prstGeom prst="rect">
            <a:avLst/>
          </a:prstGeom>
        </p:spPr>
      </p:pic>
      <p:pic>
        <p:nvPicPr>
          <p:cNvPr id="49" name="Gráfico 48" descr="Caminhão de lixo estrutura de tópicos">
            <a:extLst>
              <a:ext uri="{FF2B5EF4-FFF2-40B4-BE49-F238E27FC236}">
                <a16:creationId xmlns:a16="http://schemas.microsoft.com/office/drawing/2014/main" id="{B7AC7C5D-6CC1-8DCD-FFB2-D4571509E89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3037167" y="5446766"/>
            <a:ext cx="211834" cy="211834"/>
          </a:xfrm>
          <a:prstGeom prst="rect">
            <a:avLst/>
          </a:prstGeom>
        </p:spPr>
      </p:pic>
      <p:pic>
        <p:nvPicPr>
          <p:cNvPr id="50" name="Gráfico 49" descr="Bússola estrutura de tópicos">
            <a:extLst>
              <a:ext uri="{FF2B5EF4-FFF2-40B4-BE49-F238E27FC236}">
                <a16:creationId xmlns:a16="http://schemas.microsoft.com/office/drawing/2014/main" id="{828359E1-7125-2FE0-F0C7-5314016A455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 flipH="1">
            <a:off x="13021777" y="5029886"/>
            <a:ext cx="237308" cy="237308"/>
          </a:xfrm>
          <a:prstGeom prst="rect">
            <a:avLst/>
          </a:prstGeom>
        </p:spPr>
      </p:pic>
      <p:pic>
        <p:nvPicPr>
          <p:cNvPr id="51" name="Gráfico 50" descr="Globo estrutura de tópicos">
            <a:extLst>
              <a:ext uri="{FF2B5EF4-FFF2-40B4-BE49-F238E27FC236}">
                <a16:creationId xmlns:a16="http://schemas.microsoft.com/office/drawing/2014/main" id="{C99849C7-4D12-C2B0-FFA0-90637BCC0E3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13959598" y="4708373"/>
            <a:ext cx="235538" cy="235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307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8" r:id="rId10"/>
    <p:sldLayoutId id="2147484049" r:id="rId11"/>
    <p:sldLayoutId id="2147484050" r:id="rId12"/>
    <p:sldLayoutId id="2147484051" r:id="rId13"/>
    <p:sldLayoutId id="2147484052" r:id="rId14"/>
    <p:sldLayoutId id="2147484053" r:id="rId15"/>
    <p:sldLayoutId id="2147484054" r:id="rId16"/>
    <p:sldLayoutId id="2147484055" r:id="rId17"/>
    <p:sldLayoutId id="2147484056" r:id="rId18"/>
    <p:sldLayoutId id="2147484057" r:id="rId19"/>
    <p:sldLayoutId id="2147484058" r:id="rId20"/>
    <p:sldLayoutId id="2147484059" r:id="rId21"/>
    <p:sldLayoutId id="2147484060" r:id="rId22"/>
    <p:sldLayoutId id="2147484061" r:id="rId23"/>
    <p:sldLayoutId id="2147484062" r:id="rId24"/>
    <p:sldLayoutId id="2147484063" r:id="rId25"/>
    <p:sldLayoutId id="2147484064" r:id="rId26"/>
    <p:sldLayoutId id="2147484065" r:id="rId27"/>
    <p:sldLayoutId id="2147484066" r:id="rId28"/>
    <p:sldLayoutId id="2147484067" r:id="rId29"/>
    <p:sldLayoutId id="2147484068" r:id="rId30"/>
    <p:sldLayoutId id="2147484069" r:id="rId31"/>
    <p:sldLayoutId id="2147484070" r:id="rId32"/>
    <p:sldLayoutId id="2147484071" r:id="rId33"/>
    <p:sldLayoutId id="2147484072" r:id="rId34"/>
    <p:sldLayoutId id="2147484073" r:id="rId35"/>
    <p:sldLayoutId id="2147484074" r:id="rId36"/>
    <p:sldLayoutId id="2147484075" r:id="rId37"/>
    <p:sldLayoutId id="2147484076" r:id="rId38"/>
    <p:sldLayoutId id="2147484077" r:id="rId39"/>
    <p:sldLayoutId id="2147484078" r:id="rId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spc="-4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2000"/>
        </a:spcBef>
        <a:spcAft>
          <a:spcPts val="500"/>
        </a:spcAft>
        <a:buFont typeface="Arial" panose="020B0604020202020204" pitchFamily="34" charset="0"/>
        <a:buNone/>
        <a:defRPr sz="17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936000" indent="288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lang="pt-BR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576">
          <p15:clr>
            <a:srgbClr val="F26B43"/>
          </p15:clr>
        </p15:guide>
        <p15:guide id="4" pos="988">
          <p15:clr>
            <a:srgbClr val="F26B43"/>
          </p15:clr>
        </p15:guide>
        <p15:guide id="5" pos="1141">
          <p15:clr>
            <a:srgbClr val="F26B43"/>
          </p15:clr>
        </p15:guide>
        <p15:guide id="6" pos="1544">
          <p15:clr>
            <a:srgbClr val="F26B43"/>
          </p15:clr>
        </p15:guide>
        <p15:guide id="7" pos="1688">
          <p15:clr>
            <a:srgbClr val="F26B43"/>
          </p15:clr>
        </p15:guide>
        <p15:guide id="8" pos="2100">
          <p15:clr>
            <a:srgbClr val="F26B43"/>
          </p15:clr>
        </p15:guide>
        <p15:guide id="9" pos="2244">
          <p15:clr>
            <a:srgbClr val="F26B43"/>
          </p15:clr>
        </p15:guide>
        <p15:guide id="10" pos="2656">
          <p15:clr>
            <a:srgbClr val="F26B43"/>
          </p15:clr>
        </p15:guide>
        <p15:guide id="11" pos="2800">
          <p15:clr>
            <a:srgbClr val="F26B43"/>
          </p15:clr>
        </p15:guide>
        <p15:guide id="12" pos="3212">
          <p15:clr>
            <a:srgbClr val="F26B43"/>
          </p15:clr>
        </p15:guide>
        <p15:guide id="13" pos="3356">
          <p15:clr>
            <a:srgbClr val="F26B43"/>
          </p15:clr>
        </p15:guide>
        <p15:guide id="14" pos="3768">
          <p15:clr>
            <a:srgbClr val="F26B43"/>
          </p15:clr>
        </p15:guide>
        <p15:guide id="15" pos="3912">
          <p15:clr>
            <a:srgbClr val="F26B43"/>
          </p15:clr>
        </p15:guide>
        <p15:guide id="16" pos="4324">
          <p15:clr>
            <a:srgbClr val="F26B43"/>
          </p15:clr>
        </p15:guide>
        <p15:guide id="17" pos="4468">
          <p15:clr>
            <a:srgbClr val="F26B43"/>
          </p15:clr>
        </p15:guide>
        <p15:guide id="18" pos="4880">
          <p15:clr>
            <a:srgbClr val="F26B43"/>
          </p15:clr>
        </p15:guide>
        <p15:guide id="19" pos="5024">
          <p15:clr>
            <a:srgbClr val="F26B43"/>
          </p15:clr>
        </p15:guide>
        <p15:guide id="20" pos="5436">
          <p15:clr>
            <a:srgbClr val="F26B43"/>
          </p15:clr>
        </p15:guide>
        <p15:guide id="21" pos="5580">
          <p15:clr>
            <a:srgbClr val="F26B43"/>
          </p15:clr>
        </p15:guide>
        <p15:guide id="22" pos="5992">
          <p15:clr>
            <a:srgbClr val="F26B43"/>
          </p15:clr>
        </p15:guide>
        <p15:guide id="23" pos="6136">
          <p15:clr>
            <a:srgbClr val="F26B43"/>
          </p15:clr>
        </p15:guide>
        <p15:guide id="24" pos="6548">
          <p15:clr>
            <a:srgbClr val="F26B43"/>
          </p15:clr>
        </p15:guide>
        <p15:guide id="25" pos="6692">
          <p15:clr>
            <a:srgbClr val="F26B43"/>
          </p15:clr>
        </p15:guide>
        <p15:guide id="26" pos="7104">
          <p15:clr>
            <a:srgbClr val="F26B43"/>
          </p15:clr>
        </p15:guide>
        <p15:guide id="27" orient="horz">
          <p15:clr>
            <a:srgbClr val="F26B43"/>
          </p15:clr>
        </p15:guide>
        <p15:guide id="28" orient="horz" pos="4320">
          <p15:clr>
            <a:srgbClr val="F26B43"/>
          </p15:clr>
        </p15:guide>
        <p15:guide id="29" orient="horz" pos="403">
          <p15:clr>
            <a:srgbClr val="F26B43"/>
          </p15:clr>
        </p15:guide>
        <p15:guide id="30" orient="horz" pos="716">
          <p15:clr>
            <a:srgbClr val="F26B43"/>
          </p15:clr>
        </p15:guide>
        <p15:guide id="31" orient="horz" pos="860">
          <p15:clr>
            <a:srgbClr val="F26B43"/>
          </p15:clr>
        </p15:guide>
        <p15:guide id="32" orient="horz" pos="1173">
          <p15:clr>
            <a:srgbClr val="F26B43"/>
          </p15:clr>
        </p15:guide>
        <p15:guide id="33" orient="horz" pos="1317">
          <p15:clr>
            <a:srgbClr val="F26B43"/>
          </p15:clr>
        </p15:guide>
        <p15:guide id="34" orient="horz" pos="1630">
          <p15:clr>
            <a:srgbClr val="F26B43"/>
          </p15:clr>
        </p15:guide>
        <p15:guide id="35" orient="horz" pos="1774">
          <p15:clr>
            <a:srgbClr val="F26B43"/>
          </p15:clr>
        </p15:guide>
        <p15:guide id="36" orient="horz" pos="2088">
          <p15:clr>
            <a:srgbClr val="F26B43"/>
          </p15:clr>
        </p15:guide>
        <p15:guide id="37" orient="horz" pos="2232">
          <p15:clr>
            <a:srgbClr val="F26B43"/>
          </p15:clr>
        </p15:guide>
        <p15:guide id="38" orient="horz" pos="2545">
          <p15:clr>
            <a:srgbClr val="F26B43"/>
          </p15:clr>
        </p15:guide>
        <p15:guide id="39" orient="horz" pos="2689">
          <p15:clr>
            <a:srgbClr val="F26B43"/>
          </p15:clr>
        </p15:guide>
        <p15:guide id="40" orient="horz" pos="3002">
          <p15:clr>
            <a:srgbClr val="F26B43"/>
          </p15:clr>
        </p15:guide>
        <p15:guide id="41" orient="horz" pos="3146">
          <p15:clr>
            <a:srgbClr val="F26B43"/>
          </p15:clr>
        </p15:guide>
        <p15:guide id="42" orient="horz" pos="3459">
          <p15:clr>
            <a:srgbClr val="F26B43"/>
          </p15:clr>
        </p15:guide>
        <p15:guide id="43" orient="horz" pos="3603">
          <p15:clr>
            <a:srgbClr val="F26B43"/>
          </p15:clr>
        </p15:guide>
        <p15:guide id="44" orient="horz" pos="39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3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772C17-384E-2C70-FB9E-809E0D09C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956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25" imgH="424" progId="TCLayout.ActiveDocument.1">
                  <p:embed/>
                </p:oleObj>
              </mc:Choice>
              <mc:Fallback>
                <p:oleObj name="Slide do think-cell" r:id="rId5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772C17-384E-2C70-FB9E-809E0D09C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ítulo 26">
            <a:extLst>
              <a:ext uri="{FF2B5EF4-FFF2-40B4-BE49-F238E27FC236}">
                <a16:creationId xmlns:a16="http://schemas.microsoft.com/office/drawing/2014/main" id="{C7987A9D-066D-C382-B54D-FCB50DCA7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4513" y="2848767"/>
            <a:ext cx="10470365" cy="1281113"/>
          </a:xfrm>
        </p:spPr>
        <p:txBody>
          <a:bodyPr vert="horz">
            <a:noAutofit/>
          </a:bodyPr>
          <a:lstStyle/>
          <a:p>
            <a:r>
              <a:rPr lang="pt-BR" sz="3200" dirty="0">
                <a:solidFill>
                  <a:srgbClr val="F4614D"/>
                </a:solidFill>
              </a:rPr>
              <a:t>GMR – gestão de maiores riscos</a:t>
            </a:r>
            <a:endParaRPr lang="pt-BR" sz="2000" b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9" name="Espaço Reservado para Texto 48">
            <a:extLst>
              <a:ext uri="{FF2B5EF4-FFF2-40B4-BE49-F238E27FC236}">
                <a16:creationId xmlns:a16="http://schemas.microsoft.com/office/drawing/2014/main" id="{CDFC8067-872F-80A2-BAE2-1E3AAC37A8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Almas</a:t>
            </a:r>
          </a:p>
        </p:txBody>
      </p:sp>
      <p:sp>
        <p:nvSpPr>
          <p:cNvPr id="46" name="Espaço Reservado para Texto 45">
            <a:extLst>
              <a:ext uri="{FF2B5EF4-FFF2-40B4-BE49-F238E27FC236}">
                <a16:creationId xmlns:a16="http://schemas.microsoft.com/office/drawing/2014/main" id="{D98919FC-8AFD-7281-ED76-DD622BC18E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4562" y="3507752"/>
            <a:ext cx="6832600" cy="447675"/>
          </a:xfrm>
        </p:spPr>
        <p:txBody>
          <a:bodyPr>
            <a:normAutofit lnSpcReduction="10000"/>
          </a:bodyPr>
          <a:lstStyle/>
          <a:p>
            <a:pPr>
              <a:spcBef>
                <a:spcPts val="0"/>
              </a:spcBef>
            </a:pPr>
            <a:r>
              <a:rPr lang="pt-BR" sz="2400" b="1" spc="-100" dirty="0" err="1">
                <a:solidFill>
                  <a:srgbClr val="2D3D70"/>
                </a:solidFill>
                <a:latin typeface="+mj-lt"/>
                <a:ea typeface="+mj-ea"/>
                <a:cs typeface="+mj-cs"/>
              </a:rPr>
              <a:t>sso</a:t>
            </a:r>
            <a:r>
              <a:rPr lang="pt-BR" sz="2400" b="1" spc="-100" dirty="0">
                <a:solidFill>
                  <a:srgbClr val="2D3D70"/>
                </a:solidFill>
                <a:latin typeface="+mj-lt"/>
                <a:ea typeface="+mj-ea"/>
                <a:cs typeface="+mj-cs"/>
              </a:rPr>
              <a:t> | segurança E SAÚDE OCUPACIONAL</a:t>
            </a:r>
          </a:p>
        </p:txBody>
      </p:sp>
      <p:sp>
        <p:nvSpPr>
          <p:cNvPr id="2" name="Espaço Reservado para Texto 61">
            <a:extLst>
              <a:ext uri="{FF2B5EF4-FFF2-40B4-BE49-F238E27FC236}">
                <a16:creationId xmlns:a16="http://schemas.microsoft.com/office/drawing/2014/main" id="{706C3F8F-D069-1EC3-6299-8FC64345A7FD}"/>
              </a:ext>
            </a:extLst>
          </p:cNvPr>
          <p:cNvSpPr txBox="1">
            <a:spLocks/>
          </p:cNvSpPr>
          <p:nvPr/>
        </p:nvSpPr>
        <p:spPr>
          <a:xfrm>
            <a:off x="944562" y="4039808"/>
            <a:ext cx="3044731" cy="354597"/>
          </a:xfrm>
          <a:prstGeom prst="rect">
            <a:avLst/>
          </a:prstGeom>
        </p:spPr>
        <p:txBody>
          <a:bodyPr vert="horz" lIns="144000" tIns="45720" rIns="91440" bIns="45720" rtlCol="0">
            <a:norm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500"/>
              </a:spcAft>
              <a:buClrTx/>
              <a:buFont typeface="Arial" panose="020B0604020202020204" pitchFamily="34" charset="0"/>
              <a:buNone/>
              <a:defRPr lang="pt-BR" sz="1500" b="0" i="0" u="none" strike="noStrike" kern="1200" cap="all" spc="1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Mês </a:t>
            </a:r>
            <a:r>
              <a:rPr lang="pt-BR" dirty="0" err="1"/>
              <a:t>xxxxxxxxx</a:t>
            </a:r>
            <a:endParaRPr lang="pt-B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1299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721"/>
    </mc:Choice>
    <mc:Fallback xmlns="">
      <p:transition spd="slow" advTm="872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C1A4ED-0415-2BB0-CAE7-B64885A6DF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60A9861D-B8E0-034D-B54A-971312B67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45D5B5-B839-B79B-9BBD-1C1BE376A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2">
            <a:extLst>
              <a:ext uri="{FF2B5EF4-FFF2-40B4-BE49-F238E27FC236}">
                <a16:creationId xmlns:a16="http://schemas.microsoft.com/office/drawing/2014/main" id="{BFB85738-30AC-55E5-A203-878EB449548C}"/>
              </a:ext>
            </a:extLst>
          </p:cNvPr>
          <p:cNvSpPr txBox="1">
            <a:spLocks/>
          </p:cNvSpPr>
          <p:nvPr/>
        </p:nvSpPr>
        <p:spPr>
          <a:xfrm>
            <a:off x="411279" y="522581"/>
            <a:ext cx="9667218" cy="8428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spc="-4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  <a:buClrTx/>
              <a:buFontTx/>
              <a:defRPr/>
            </a:pPr>
            <a:r>
              <a:rPr lang="pt-BR" sz="2400" dirty="0"/>
              <a:t>SSO | PRÓXIMOS PASSOS </a:t>
            </a:r>
          </a:p>
          <a:p>
            <a:pPr>
              <a:lnSpc>
                <a:spcPct val="150000"/>
              </a:lnSpc>
              <a:buClrTx/>
              <a:buFontTx/>
              <a:defRPr/>
            </a:pPr>
            <a:r>
              <a:rPr lang="pt-BR" sz="2400" dirty="0">
                <a:solidFill>
                  <a:srgbClr val="F4614D"/>
                </a:solidFill>
                <a:latin typeface="Montserrat"/>
              </a:rPr>
              <a:t>MÊS/ANO </a:t>
            </a:r>
          </a:p>
        </p:txBody>
      </p:sp>
      <p:sp>
        <p:nvSpPr>
          <p:cNvPr id="10" name="Espaço Reservado para Texto 61">
            <a:extLst>
              <a:ext uri="{FF2B5EF4-FFF2-40B4-BE49-F238E27FC236}">
                <a16:creationId xmlns:a16="http://schemas.microsoft.com/office/drawing/2014/main" id="{BB28AC51-AC0D-8BE7-68B7-0E8F4B12B205}"/>
              </a:ext>
            </a:extLst>
          </p:cNvPr>
          <p:cNvSpPr txBox="1">
            <a:spLocks/>
          </p:cNvSpPr>
          <p:nvPr/>
        </p:nvSpPr>
        <p:spPr>
          <a:xfrm>
            <a:off x="411279" y="278512"/>
            <a:ext cx="4984686" cy="3545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  <a:defRPr/>
            </a:pPr>
            <a:r>
              <a:rPr lang="pt-BR" sz="1050" b="0" dirty="0">
                <a:solidFill>
                  <a:srgbClr val="666666"/>
                </a:solidFill>
                <a:latin typeface="Open Sans (Corpo)"/>
              </a:rPr>
              <a:t>SSO| ALMAS</a:t>
            </a:r>
          </a:p>
        </p:txBody>
      </p:sp>
      <p:sp>
        <p:nvSpPr>
          <p:cNvPr id="1100" name="Retângulo 1099">
            <a:extLst>
              <a:ext uri="{FF2B5EF4-FFF2-40B4-BE49-F238E27FC236}">
                <a16:creationId xmlns:a16="http://schemas.microsoft.com/office/drawing/2014/main" id="{E97F676B-C661-3BA9-B8CB-D737D13986ED}"/>
              </a:ext>
            </a:extLst>
          </p:cNvPr>
          <p:cNvSpPr/>
          <p:nvPr/>
        </p:nvSpPr>
        <p:spPr>
          <a:xfrm>
            <a:off x="7926443" y="1059215"/>
            <a:ext cx="1173892" cy="3061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100" b="1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1101" name="Retângulo 1100">
            <a:extLst>
              <a:ext uri="{FF2B5EF4-FFF2-40B4-BE49-F238E27FC236}">
                <a16:creationId xmlns:a16="http://schemas.microsoft.com/office/drawing/2014/main" id="{94B25CD5-2911-9C1A-AEA0-19BFB8B752E1}"/>
              </a:ext>
            </a:extLst>
          </p:cNvPr>
          <p:cNvSpPr/>
          <p:nvPr/>
        </p:nvSpPr>
        <p:spPr>
          <a:xfrm>
            <a:off x="7859212" y="1340755"/>
            <a:ext cx="3668391" cy="5180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Aft>
                <a:spcPts val="300"/>
              </a:spcAft>
            </a:pPr>
            <a:endParaRPr lang="pt-BR" sz="900" b="1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kumimoji="0" lang="pt-BR" sz="900" i="0" u="none" strike="noStrike" kern="1200" cap="none" spc="0" normalizeH="0" baseline="0" noProof="0">
              <a:ln>
                <a:noFill/>
              </a:ln>
              <a:solidFill>
                <a:srgbClr val="2D3D7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8FBAD34F-21A5-7C47-E275-F01EA7E840FF}"/>
              </a:ext>
            </a:extLst>
          </p:cNvPr>
          <p:cNvSpPr/>
          <p:nvPr/>
        </p:nvSpPr>
        <p:spPr>
          <a:xfrm>
            <a:off x="6400800" y="2021671"/>
            <a:ext cx="5283201" cy="3544271"/>
          </a:xfrm>
          <a:prstGeom prst="roundRect">
            <a:avLst>
              <a:gd name="adj" fmla="val 3200"/>
            </a:avLst>
          </a:prstGeom>
          <a:noFill/>
          <a:ln w="6350">
            <a:solidFill>
              <a:srgbClr val="C44B3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8231370C-C0E7-46EE-D5B7-0D897E9DB545}"/>
              </a:ext>
            </a:extLst>
          </p:cNvPr>
          <p:cNvSpPr/>
          <p:nvPr/>
        </p:nvSpPr>
        <p:spPr>
          <a:xfrm>
            <a:off x="6604000" y="1955840"/>
            <a:ext cx="1320800" cy="152360"/>
          </a:xfrm>
          <a:prstGeom prst="rect">
            <a:avLst/>
          </a:prstGeom>
          <a:solidFill>
            <a:srgbClr val="EFE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7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2D690FA2-C78B-F443-9BFA-C28968B06C79}"/>
              </a:ext>
            </a:extLst>
          </p:cNvPr>
          <p:cNvSpPr/>
          <p:nvPr/>
        </p:nvSpPr>
        <p:spPr>
          <a:xfrm>
            <a:off x="6716211" y="1889045"/>
            <a:ext cx="1524000" cy="2191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60960" tIns="30480" rIns="60960" bIns="3048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04815">
              <a:defRPr/>
            </a:pPr>
            <a:r>
              <a:rPr lang="pt-BR" sz="1200" b="1" dirty="0">
                <a:solidFill>
                  <a:srgbClr val="C44B38"/>
                </a:solidFill>
                <a:latin typeface="Open Sans (Corpo)"/>
              </a:rPr>
              <a:t>Comentários</a:t>
            </a:r>
            <a:endParaRPr lang="pt-BR" sz="933" dirty="0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819768E7-E6B9-40A6-2F73-9578E7C3013D}"/>
              </a:ext>
            </a:extLst>
          </p:cNvPr>
          <p:cNvSpPr txBox="1"/>
          <p:nvPr/>
        </p:nvSpPr>
        <p:spPr>
          <a:xfrm>
            <a:off x="6603999" y="2295636"/>
            <a:ext cx="497840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04815" indent="-304815">
              <a:buFont typeface="+mj-lt"/>
              <a:buAutoNum type="arabicPeriod"/>
            </a:pPr>
            <a:r>
              <a:rPr lang="pt-BR" sz="1333" dirty="0">
                <a:solidFill>
                  <a:srgbClr val="2D3D70"/>
                </a:solidFill>
              </a:rPr>
              <a:t> </a:t>
            </a:r>
            <a:r>
              <a:rPr lang="pt-BR" sz="1333" dirty="0" err="1">
                <a:solidFill>
                  <a:srgbClr val="2D3D70"/>
                </a:solidFill>
              </a:rPr>
              <a:t>xxxxxxxxxxxxxxxxxxx</a:t>
            </a:r>
            <a:r>
              <a:rPr lang="pt-BR" sz="1333" dirty="0">
                <a:solidFill>
                  <a:srgbClr val="2D3D70"/>
                </a:solidFill>
              </a:rPr>
              <a:t>.</a:t>
            </a:r>
            <a:endParaRPr lang="pt-BR" sz="1333" dirty="0">
              <a:solidFill>
                <a:srgbClr val="2D3D70"/>
              </a:solidFill>
              <a:latin typeface="+mn-lt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524458C-F477-261E-17A1-BC311C64443C}"/>
              </a:ext>
            </a:extLst>
          </p:cNvPr>
          <p:cNvSpPr/>
          <p:nvPr/>
        </p:nvSpPr>
        <p:spPr>
          <a:xfrm>
            <a:off x="279399" y="1866320"/>
            <a:ext cx="5943600" cy="381334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</p:spTree>
    <p:extLst>
      <p:ext uri="{BB962C8B-B14F-4D97-AF65-F5344CB8AC3E}">
        <p14:creationId xmlns:p14="http://schemas.microsoft.com/office/powerpoint/2010/main" val="184208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0E39C3-A34F-0BDF-FED6-56257E247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C96792C-956C-4CD8-7249-CCA4DA6902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5" imgH="424" progId="TCLayout.ActiveDocument.1">
                  <p:embed/>
                </p:oleObj>
              </mc:Choice>
              <mc:Fallback>
                <p:oleObj name="Slide do think-cell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96792C-956C-4CD8-7249-CCA4DA690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>
            <a:extLst>
              <a:ext uri="{FF2B5EF4-FFF2-40B4-BE49-F238E27FC236}">
                <a16:creationId xmlns:a16="http://schemas.microsoft.com/office/drawing/2014/main" id="{B285C5FC-B22D-527D-A09D-6152BD481709}"/>
              </a:ext>
            </a:extLst>
          </p:cNvPr>
          <p:cNvSpPr/>
          <p:nvPr/>
        </p:nvSpPr>
        <p:spPr>
          <a:xfrm>
            <a:off x="3225521" y="1115367"/>
            <a:ext cx="2270927" cy="1657978"/>
          </a:xfrm>
          <a:prstGeom prst="rect">
            <a:avLst/>
          </a:prstGeom>
          <a:solidFill>
            <a:srgbClr val="2D3D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30044FCE-B7E6-C1B1-FC12-F74B75E189A4}"/>
              </a:ext>
            </a:extLst>
          </p:cNvPr>
          <p:cNvSpPr/>
          <p:nvPr/>
        </p:nvSpPr>
        <p:spPr>
          <a:xfrm>
            <a:off x="3136760" y="4913644"/>
            <a:ext cx="2270927" cy="1657978"/>
          </a:xfrm>
          <a:prstGeom prst="rect">
            <a:avLst/>
          </a:prstGeom>
          <a:solidFill>
            <a:srgbClr val="2D3D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pic>
        <p:nvPicPr>
          <p:cNvPr id="10" name="Imagem 9" descr="Logotipo, nome da empresa&#10;&#10;Descrição gerada automaticamente">
            <a:extLst>
              <a:ext uri="{FF2B5EF4-FFF2-40B4-BE49-F238E27FC236}">
                <a16:creationId xmlns:a16="http://schemas.microsoft.com/office/drawing/2014/main" id="{13D47A18-68EF-AFF4-D66A-BD15AFE9BB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3577" y="2317307"/>
            <a:ext cx="3788083" cy="2223385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2033ED27-72B7-50E5-D994-CB251258313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680864" y="6346864"/>
            <a:ext cx="1022272" cy="1022272"/>
          </a:xfrm>
          <a:prstGeom prst="rect">
            <a:avLst/>
          </a:prstGeom>
        </p:spPr>
      </p:pic>
      <p:sp>
        <p:nvSpPr>
          <p:cNvPr id="2" name="Rectangle 35">
            <a:extLst>
              <a:ext uri="{FF2B5EF4-FFF2-40B4-BE49-F238E27FC236}">
                <a16:creationId xmlns:a16="http://schemas.microsoft.com/office/drawing/2014/main" id="{A714AFB6-8B1C-E1F0-ED77-EA5DE13EEA48}"/>
              </a:ext>
            </a:extLst>
          </p:cNvPr>
          <p:cNvSpPr/>
          <p:nvPr/>
        </p:nvSpPr>
        <p:spPr>
          <a:xfrm>
            <a:off x="5112721" y="6144614"/>
            <a:ext cx="3108959" cy="2308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  <a:sym typeface="Arial"/>
              </a:rPr>
              <a:t>www.auraminerals.com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FE7FA8B1-C022-9DAF-09E3-8B4F72FB433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970" y="5680830"/>
            <a:ext cx="463078" cy="463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713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Texto&#10;&#10;Descrição gerada automaticamente com confiança baixa">
            <a:extLst>
              <a:ext uri="{FF2B5EF4-FFF2-40B4-BE49-F238E27FC236}">
                <a16:creationId xmlns:a16="http://schemas.microsoft.com/office/drawing/2014/main" id="{6244C5BE-4DFD-F46A-D026-70B84E8A29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1781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A7202B-8D13-41EA-5927-3B875A222D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915B708-6F19-5940-996B-E27BC96EAD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530A25-532C-1183-AA98-FB785545FC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BC200556-E672-7C84-5521-488BFE9CF8C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sp>
        <p:nvSpPr>
          <p:cNvPr id="61" name="Título 60">
            <a:extLst>
              <a:ext uri="{FF2B5EF4-FFF2-40B4-BE49-F238E27FC236}">
                <a16:creationId xmlns:a16="http://schemas.microsoft.com/office/drawing/2014/main" id="{75DF45AA-4016-72DB-F3D6-F0EA3F4BB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6677960" cy="1281113"/>
          </a:xfrm>
        </p:spPr>
        <p:txBody>
          <a:bodyPr vert="horz">
            <a:noAutofit/>
          </a:bodyPr>
          <a:lstStyle/>
          <a:p>
            <a:r>
              <a:rPr lang="pt-BR" sz="2000" dirty="0">
                <a:solidFill>
                  <a:srgbClr val="F4614D"/>
                </a:solidFill>
              </a:rPr>
              <a:t>GMR – Gestão de Maiores Riscos</a:t>
            </a:r>
            <a:br>
              <a:rPr lang="pt-BR" sz="2000" dirty="0">
                <a:solidFill>
                  <a:srgbClr val="FF0000"/>
                </a:solidFill>
              </a:rPr>
            </a:br>
            <a:br>
              <a:rPr lang="pt-BR" sz="800" dirty="0">
                <a:solidFill>
                  <a:srgbClr val="FF0000"/>
                </a:solidFill>
              </a:rPr>
            </a:br>
            <a:r>
              <a:rPr lang="pt-BR" sz="1800" dirty="0">
                <a:solidFill>
                  <a:srgbClr val="2D3D70"/>
                </a:solidFill>
              </a:rPr>
              <a:t>SSO | SEGURANÇA &amp; SAÚDE OCUPACIONAL</a:t>
            </a:r>
            <a:endParaRPr lang="pt-BR" sz="2000" dirty="0"/>
          </a:p>
        </p:txBody>
      </p:sp>
      <p:sp>
        <p:nvSpPr>
          <p:cNvPr id="62" name="Espaço Reservado para Texto 61">
            <a:extLst>
              <a:ext uri="{FF2B5EF4-FFF2-40B4-BE49-F238E27FC236}">
                <a16:creationId xmlns:a16="http://schemas.microsoft.com/office/drawing/2014/main" id="{0E1B8431-ECC1-0326-560F-C6312DB7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Pautas</a:t>
            </a:r>
          </a:p>
        </p:txBody>
      </p:sp>
      <p:sp>
        <p:nvSpPr>
          <p:cNvPr id="63" name="Espaço Reservado para Texto 62">
            <a:extLst>
              <a:ext uri="{FF2B5EF4-FFF2-40B4-BE49-F238E27FC236}">
                <a16:creationId xmlns:a16="http://schemas.microsoft.com/office/drawing/2014/main" id="{513DF2EC-F493-ABB9-F8A9-23541B8697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6352" y="2624481"/>
            <a:ext cx="654050" cy="656199"/>
          </a:xfrm>
        </p:spPr>
        <p:txBody>
          <a:bodyPr/>
          <a:lstStyle/>
          <a:p>
            <a:r>
              <a:rPr lang="pt-BR" dirty="0"/>
              <a:t>1</a:t>
            </a:r>
          </a:p>
        </p:txBody>
      </p:sp>
      <p:sp>
        <p:nvSpPr>
          <p:cNvPr id="64" name="Espaço Reservado para Texto 63">
            <a:extLst>
              <a:ext uri="{FF2B5EF4-FFF2-40B4-BE49-F238E27FC236}">
                <a16:creationId xmlns:a16="http://schemas.microsoft.com/office/drawing/2014/main" id="{B1E2E96F-8785-E29B-80CE-FB02E5FA59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46352" y="3603859"/>
            <a:ext cx="654050" cy="656199"/>
          </a:xfrm>
        </p:spPr>
        <p:txBody>
          <a:bodyPr/>
          <a:lstStyle/>
          <a:p>
            <a:r>
              <a:rPr lang="pt-BR" dirty="0"/>
              <a:t>2</a:t>
            </a:r>
          </a:p>
        </p:txBody>
      </p:sp>
      <p:sp>
        <p:nvSpPr>
          <p:cNvPr id="65" name="Espaço Reservado para Texto 64">
            <a:extLst>
              <a:ext uri="{FF2B5EF4-FFF2-40B4-BE49-F238E27FC236}">
                <a16:creationId xmlns:a16="http://schemas.microsoft.com/office/drawing/2014/main" id="{28C74B99-D1F0-61B2-2F4A-6609A09D6C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46352" y="4565200"/>
            <a:ext cx="654050" cy="656199"/>
          </a:xfrm>
        </p:spPr>
        <p:txBody>
          <a:bodyPr/>
          <a:lstStyle/>
          <a:p>
            <a:r>
              <a:rPr lang="pt-BR" dirty="0"/>
              <a:t>3</a:t>
            </a:r>
          </a:p>
        </p:txBody>
      </p:sp>
      <p:sp>
        <p:nvSpPr>
          <p:cNvPr id="67" name="Espaço Reservado para Texto 66">
            <a:extLst>
              <a:ext uri="{FF2B5EF4-FFF2-40B4-BE49-F238E27FC236}">
                <a16:creationId xmlns:a16="http://schemas.microsoft.com/office/drawing/2014/main" id="{4030586A-1F96-3901-2A9B-0F3586B262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46352" y="5315668"/>
            <a:ext cx="654050" cy="656199"/>
          </a:xfrm>
        </p:spPr>
        <p:txBody>
          <a:bodyPr/>
          <a:lstStyle/>
          <a:p>
            <a:r>
              <a:rPr lang="pt-BR" dirty="0"/>
              <a:t>4</a:t>
            </a:r>
          </a:p>
        </p:txBody>
      </p:sp>
      <p:sp>
        <p:nvSpPr>
          <p:cNvPr id="68" name="Espaço Reservado para Texto 67">
            <a:extLst>
              <a:ext uri="{FF2B5EF4-FFF2-40B4-BE49-F238E27FC236}">
                <a16:creationId xmlns:a16="http://schemas.microsoft.com/office/drawing/2014/main" id="{2490DE4F-7FF3-F975-C95E-0128358773C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7924" y="2666137"/>
            <a:ext cx="654050" cy="656199"/>
          </a:xfrm>
        </p:spPr>
        <p:txBody>
          <a:bodyPr/>
          <a:lstStyle/>
          <a:p>
            <a:r>
              <a:rPr lang="pt-BR" dirty="0"/>
              <a:t>5</a:t>
            </a:r>
          </a:p>
        </p:txBody>
      </p:sp>
      <p:sp>
        <p:nvSpPr>
          <p:cNvPr id="71" name="Espaço Reservado para Texto 70">
            <a:extLst>
              <a:ext uri="{FF2B5EF4-FFF2-40B4-BE49-F238E27FC236}">
                <a16:creationId xmlns:a16="http://schemas.microsoft.com/office/drawing/2014/main" id="{E1401A59-CD85-5ACC-404D-3795769E792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03564" y="266503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b="1" dirty="0">
                <a:solidFill>
                  <a:srgbClr val="000000"/>
                </a:solidFill>
                <a:ea typeface="Open Sans"/>
                <a:cs typeface="Open Sans"/>
              </a:rPr>
              <a:t>Follow-up</a:t>
            </a:r>
          </a:p>
          <a:p>
            <a:pPr>
              <a:buClrTx/>
            </a:pPr>
            <a:endParaRPr lang="pt-BR" b="1" dirty="0">
              <a:ea typeface="Open Sans"/>
              <a:cs typeface="Open Sans"/>
            </a:endParaRPr>
          </a:p>
        </p:txBody>
      </p:sp>
      <p:sp>
        <p:nvSpPr>
          <p:cNvPr id="72" name="Espaço Reservado para Texto 71">
            <a:extLst>
              <a:ext uri="{FF2B5EF4-FFF2-40B4-BE49-F238E27FC236}">
                <a16:creationId xmlns:a16="http://schemas.microsoft.com/office/drawing/2014/main" id="{1927434B-2C81-C1A9-3CEB-270734A86C5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03564" y="363692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Pontos Fortes</a:t>
            </a:r>
            <a:endParaRPr lang="pt-BR" dirty="0">
              <a:solidFill>
                <a:srgbClr val="000000"/>
              </a:solidFill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3" name="Espaço Reservado para Texto 72">
            <a:extLst>
              <a:ext uri="{FF2B5EF4-FFF2-40B4-BE49-F238E27FC236}">
                <a16:creationId xmlns:a16="http://schemas.microsoft.com/office/drawing/2014/main" id="{8E938383-9B55-4572-B956-E753361B3F1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03564" y="4591324"/>
            <a:ext cx="3379424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Pontos de Melhoria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t-BR" dirty="0">
              <a:ea typeface="Open Sans"/>
              <a:cs typeface="Open Sans"/>
            </a:endParaRPr>
          </a:p>
        </p:txBody>
      </p:sp>
      <p:sp>
        <p:nvSpPr>
          <p:cNvPr id="75" name="Espaço Reservado para Texto 74">
            <a:extLst>
              <a:ext uri="{FF2B5EF4-FFF2-40B4-BE49-F238E27FC236}">
                <a16:creationId xmlns:a16="http://schemas.microsoft.com/office/drawing/2014/main" id="{73356982-06B6-F2EA-1868-4B9BC559B48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05152" y="5356225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Próximos Passos</a:t>
            </a:r>
            <a:endParaRPr lang="en-US" dirty="0"/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6" name="Espaço Reservado para Texto 75">
            <a:extLst>
              <a:ext uri="{FF2B5EF4-FFF2-40B4-BE49-F238E27FC236}">
                <a16:creationId xmlns:a16="http://schemas.microsoft.com/office/drawing/2014/main" id="{8D2BEB21-8D8E-E6DC-990F-42E1AAEF3CB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806724" y="2699206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-</a:t>
            </a: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5" name="Espaço Reservado para Texto 67">
            <a:extLst>
              <a:ext uri="{FF2B5EF4-FFF2-40B4-BE49-F238E27FC236}">
                <a16:creationId xmlns:a16="http://schemas.microsoft.com/office/drawing/2014/main" id="{A5323124-686A-2C86-E28A-3E23982B0233}"/>
              </a:ext>
            </a:extLst>
          </p:cNvPr>
          <p:cNvSpPr txBox="1">
            <a:spLocks/>
          </p:cNvSpPr>
          <p:nvPr/>
        </p:nvSpPr>
        <p:spPr>
          <a:xfrm>
            <a:off x="8247924" y="3653602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Arial"/>
              </a:rPr>
              <a:t>6</a:t>
            </a:r>
          </a:p>
        </p:txBody>
      </p:sp>
      <p:sp>
        <p:nvSpPr>
          <p:cNvPr id="16" name="Espaço Reservado para Texto 75">
            <a:extLst>
              <a:ext uri="{FF2B5EF4-FFF2-40B4-BE49-F238E27FC236}">
                <a16:creationId xmlns:a16="http://schemas.microsoft.com/office/drawing/2014/main" id="{0A923692-F5D7-8AD6-608D-F4A566820B31}"/>
              </a:ext>
            </a:extLst>
          </p:cNvPr>
          <p:cNvSpPr txBox="1">
            <a:spLocks/>
          </p:cNvSpPr>
          <p:nvPr/>
        </p:nvSpPr>
        <p:spPr>
          <a:xfrm>
            <a:off x="8806724" y="3686671"/>
            <a:ext cx="2516187" cy="625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-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17" name="Espaço Reservado para Texto 67">
            <a:extLst>
              <a:ext uri="{FF2B5EF4-FFF2-40B4-BE49-F238E27FC236}">
                <a16:creationId xmlns:a16="http://schemas.microsoft.com/office/drawing/2014/main" id="{51D2D946-6992-37D3-70DB-B8926C2A74F8}"/>
              </a:ext>
            </a:extLst>
          </p:cNvPr>
          <p:cNvSpPr txBox="1">
            <a:spLocks/>
          </p:cNvSpPr>
          <p:nvPr/>
        </p:nvSpPr>
        <p:spPr>
          <a:xfrm>
            <a:off x="8247924" y="4418503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 dirty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Arial"/>
              </a:rPr>
              <a:t>7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32367CE-14F3-04EF-5C16-89A9F216B545}"/>
              </a:ext>
            </a:extLst>
          </p:cNvPr>
          <p:cNvSpPr txBox="1"/>
          <p:nvPr/>
        </p:nvSpPr>
        <p:spPr>
          <a:xfrm>
            <a:off x="8693217" y="4585522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-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Open Sans"/>
              <a:cs typeface="Open San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07985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6F976-EF6E-6E5E-BE81-5BCB9AD473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F2F59E7-D444-A086-5323-AE898F4D96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2F59E7-D444-A086-5323-AE898F4D9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2F437AE3-8D15-38B1-92F2-C13F0E176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828" y="291607"/>
            <a:ext cx="10401589" cy="477548"/>
          </a:xfrm>
        </p:spPr>
        <p:txBody>
          <a:bodyPr vert="horz"/>
          <a:lstStyle/>
          <a:p>
            <a:pPr>
              <a:buClrTx/>
              <a:buFontTx/>
              <a:defRPr/>
            </a:pPr>
            <a:r>
              <a:rPr lang="pt-BR" sz="3200" dirty="0"/>
              <a:t>SSO | </a:t>
            </a:r>
            <a:r>
              <a:rPr lang="pt-BR" sz="3200" dirty="0">
                <a:solidFill>
                  <a:srgbClr val="F4614D"/>
                </a:solidFill>
              </a:rPr>
              <a:t>FOLLOW-UP</a:t>
            </a:r>
            <a:endParaRPr lang="pt-BR" sz="3200" dirty="0">
              <a:solidFill>
                <a:srgbClr val="F4614D"/>
              </a:solidFill>
              <a:sym typeface="Arial"/>
            </a:endParaRPr>
          </a:p>
        </p:txBody>
      </p:sp>
      <p:graphicFrame>
        <p:nvGraphicFramePr>
          <p:cNvPr id="9" name="Tabela 8">
            <a:extLst>
              <a:ext uri="{FF2B5EF4-FFF2-40B4-BE49-F238E27FC236}">
                <a16:creationId xmlns:a16="http://schemas.microsoft.com/office/drawing/2014/main" id="{6113143D-5212-E0C6-2CB0-F80A74050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991910"/>
              </p:ext>
            </p:extLst>
          </p:nvPr>
        </p:nvGraphicFramePr>
        <p:xfrm>
          <a:off x="152401" y="1382651"/>
          <a:ext cx="11379200" cy="48283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99124">
                  <a:extLst>
                    <a:ext uri="{9D8B030D-6E8A-4147-A177-3AD203B41FA5}">
                      <a16:colId xmlns:a16="http://schemas.microsoft.com/office/drawing/2014/main" val="1055030787"/>
                    </a:ext>
                  </a:extLst>
                </a:gridCol>
                <a:gridCol w="2522137">
                  <a:extLst>
                    <a:ext uri="{9D8B030D-6E8A-4147-A177-3AD203B41FA5}">
                      <a16:colId xmlns:a16="http://schemas.microsoft.com/office/drawing/2014/main" val="1159618014"/>
                    </a:ext>
                  </a:extLst>
                </a:gridCol>
                <a:gridCol w="2457939">
                  <a:extLst>
                    <a:ext uri="{9D8B030D-6E8A-4147-A177-3AD203B41FA5}">
                      <a16:colId xmlns:a16="http://schemas.microsoft.com/office/drawing/2014/main" val="921077246"/>
                    </a:ext>
                  </a:extLst>
                </a:gridCol>
              </a:tblGrid>
              <a:tr h="508000">
                <a:tc>
                  <a:txBody>
                    <a:bodyPr/>
                    <a:lstStyle/>
                    <a:p>
                      <a:pPr marL="0" marR="0" lvl="0" indent="0" algn="ctr" defTabSz="1371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0" dirty="0"/>
                        <a:t>DESCRIÇÃO RESUMI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RESPONSÁ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0" dirty="0"/>
                        <a:t>STATU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6476612"/>
                  </a:ext>
                </a:extLst>
              </a:tr>
              <a:tr h="944646">
                <a:tc>
                  <a:txBody>
                    <a:bodyPr/>
                    <a:lstStyle/>
                    <a:p>
                      <a:pPr marL="0" marR="0" lvl="0" indent="0" algn="l" defTabSz="1371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dirty="0">
                          <a:solidFill>
                            <a:schemeClr val="tx1"/>
                          </a:solidFill>
                        </a:rPr>
                        <a:t>XXXXXXXXXXXXXX</a:t>
                      </a:r>
                    </a:p>
                    <a:p>
                      <a:endParaRPr lang="en-US" sz="27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xx/xx/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xxxx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Não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iniciado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Em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andamento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Concluído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3248548"/>
                  </a:ext>
                </a:extLst>
              </a:tr>
              <a:tr h="817036"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0183954"/>
                  </a:ext>
                </a:extLst>
              </a:tr>
              <a:tr h="863428"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1128359"/>
                  </a:ext>
                </a:extLst>
              </a:tr>
              <a:tr h="817036"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0919528"/>
                  </a:ext>
                </a:extLst>
              </a:tr>
              <a:tr h="817036"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306032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59313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29C503-6227-52CA-0DB4-A6A09D2778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D796504-076E-2276-784A-34C7F8AF1F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15B708-6F19-5940-996B-E27BC96EA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D24D259F-9A23-F0D9-85B3-DD85225536D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sp>
        <p:nvSpPr>
          <p:cNvPr id="61" name="Título 60">
            <a:extLst>
              <a:ext uri="{FF2B5EF4-FFF2-40B4-BE49-F238E27FC236}">
                <a16:creationId xmlns:a16="http://schemas.microsoft.com/office/drawing/2014/main" id="{672CD493-1228-314F-6A75-CDA22BEBD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6677960" cy="1281113"/>
          </a:xfrm>
        </p:spPr>
        <p:txBody>
          <a:bodyPr vert="horz">
            <a:noAutofit/>
          </a:bodyPr>
          <a:lstStyle/>
          <a:p>
            <a:r>
              <a:rPr lang="pt-BR" sz="2000" dirty="0">
                <a:solidFill>
                  <a:srgbClr val="F4614D"/>
                </a:solidFill>
              </a:rPr>
              <a:t>GMR – Gestão de Maiores Riscos</a:t>
            </a:r>
            <a:br>
              <a:rPr lang="pt-BR" sz="2000" dirty="0">
                <a:solidFill>
                  <a:srgbClr val="FF0000"/>
                </a:solidFill>
              </a:rPr>
            </a:br>
            <a:br>
              <a:rPr lang="pt-BR" sz="800" dirty="0">
                <a:solidFill>
                  <a:srgbClr val="FF0000"/>
                </a:solidFill>
              </a:rPr>
            </a:br>
            <a:r>
              <a:rPr lang="pt-BR" sz="1800" dirty="0">
                <a:solidFill>
                  <a:srgbClr val="2D3D70"/>
                </a:solidFill>
              </a:rPr>
              <a:t>SSO | SEGURANÇA &amp; SAÚDE OCUPACIONAL</a:t>
            </a:r>
            <a:endParaRPr lang="pt-BR" sz="2000" dirty="0"/>
          </a:p>
        </p:txBody>
      </p:sp>
      <p:sp>
        <p:nvSpPr>
          <p:cNvPr id="62" name="Espaço Reservado para Texto 61">
            <a:extLst>
              <a:ext uri="{FF2B5EF4-FFF2-40B4-BE49-F238E27FC236}">
                <a16:creationId xmlns:a16="http://schemas.microsoft.com/office/drawing/2014/main" id="{F032477B-6102-618F-DE80-79A4EF0435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Pautas</a:t>
            </a:r>
          </a:p>
        </p:txBody>
      </p:sp>
      <p:sp>
        <p:nvSpPr>
          <p:cNvPr id="63" name="Espaço Reservado para Texto 62">
            <a:extLst>
              <a:ext uri="{FF2B5EF4-FFF2-40B4-BE49-F238E27FC236}">
                <a16:creationId xmlns:a16="http://schemas.microsoft.com/office/drawing/2014/main" id="{86F4286E-7123-DB1F-E154-9BCA28E93F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6352" y="2624481"/>
            <a:ext cx="654050" cy="656199"/>
          </a:xfrm>
        </p:spPr>
        <p:txBody>
          <a:bodyPr/>
          <a:lstStyle/>
          <a:p>
            <a:r>
              <a:rPr lang="pt-BR" dirty="0"/>
              <a:t>1</a:t>
            </a:r>
          </a:p>
        </p:txBody>
      </p:sp>
      <p:sp>
        <p:nvSpPr>
          <p:cNvPr id="64" name="Espaço Reservado para Texto 63">
            <a:extLst>
              <a:ext uri="{FF2B5EF4-FFF2-40B4-BE49-F238E27FC236}">
                <a16:creationId xmlns:a16="http://schemas.microsoft.com/office/drawing/2014/main" id="{B735E266-0204-3781-3087-D03A9A107D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46352" y="3603859"/>
            <a:ext cx="654050" cy="656199"/>
          </a:xfrm>
        </p:spPr>
        <p:txBody>
          <a:bodyPr/>
          <a:lstStyle/>
          <a:p>
            <a:r>
              <a:rPr lang="pt-BR" dirty="0"/>
              <a:t>2</a:t>
            </a:r>
          </a:p>
        </p:txBody>
      </p:sp>
      <p:sp>
        <p:nvSpPr>
          <p:cNvPr id="65" name="Espaço Reservado para Texto 64">
            <a:extLst>
              <a:ext uri="{FF2B5EF4-FFF2-40B4-BE49-F238E27FC236}">
                <a16:creationId xmlns:a16="http://schemas.microsoft.com/office/drawing/2014/main" id="{24A11B9B-8635-84D3-746E-528E538307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46352" y="4565200"/>
            <a:ext cx="654050" cy="656199"/>
          </a:xfrm>
        </p:spPr>
        <p:txBody>
          <a:bodyPr/>
          <a:lstStyle/>
          <a:p>
            <a:r>
              <a:rPr lang="pt-BR" dirty="0"/>
              <a:t>3</a:t>
            </a:r>
          </a:p>
        </p:txBody>
      </p:sp>
      <p:sp>
        <p:nvSpPr>
          <p:cNvPr id="67" name="Espaço Reservado para Texto 66">
            <a:extLst>
              <a:ext uri="{FF2B5EF4-FFF2-40B4-BE49-F238E27FC236}">
                <a16:creationId xmlns:a16="http://schemas.microsoft.com/office/drawing/2014/main" id="{F18424C3-E399-5192-2972-832CEDA2D44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46352" y="5315668"/>
            <a:ext cx="654050" cy="656199"/>
          </a:xfrm>
        </p:spPr>
        <p:txBody>
          <a:bodyPr/>
          <a:lstStyle/>
          <a:p>
            <a:r>
              <a:rPr lang="pt-BR" dirty="0"/>
              <a:t>4</a:t>
            </a:r>
          </a:p>
        </p:txBody>
      </p:sp>
      <p:sp>
        <p:nvSpPr>
          <p:cNvPr id="68" name="Espaço Reservado para Texto 67">
            <a:extLst>
              <a:ext uri="{FF2B5EF4-FFF2-40B4-BE49-F238E27FC236}">
                <a16:creationId xmlns:a16="http://schemas.microsoft.com/office/drawing/2014/main" id="{000A7E9A-F834-24D0-5DC6-A82092AFB01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7924" y="2666137"/>
            <a:ext cx="654050" cy="656199"/>
          </a:xfrm>
        </p:spPr>
        <p:txBody>
          <a:bodyPr/>
          <a:lstStyle/>
          <a:p>
            <a:r>
              <a:rPr lang="pt-BR" dirty="0"/>
              <a:t>5</a:t>
            </a:r>
          </a:p>
        </p:txBody>
      </p:sp>
      <p:sp>
        <p:nvSpPr>
          <p:cNvPr id="71" name="Espaço Reservado para Texto 70">
            <a:extLst>
              <a:ext uri="{FF2B5EF4-FFF2-40B4-BE49-F238E27FC236}">
                <a16:creationId xmlns:a16="http://schemas.microsoft.com/office/drawing/2014/main" id="{E520563D-69B3-C343-B83A-DEFC47EAAC5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03564" y="266503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>
                <a:solidFill>
                  <a:srgbClr val="000000"/>
                </a:solidFill>
                <a:ea typeface="Open Sans"/>
                <a:cs typeface="Open Sans"/>
              </a:rPr>
              <a:t>Follow-up</a:t>
            </a:r>
          </a:p>
          <a:p>
            <a:pPr>
              <a:buClrTx/>
            </a:pPr>
            <a:endParaRPr lang="pt-BR" b="1" dirty="0">
              <a:ea typeface="Open Sans"/>
              <a:cs typeface="Open Sans"/>
            </a:endParaRPr>
          </a:p>
        </p:txBody>
      </p:sp>
      <p:sp>
        <p:nvSpPr>
          <p:cNvPr id="72" name="Espaço Reservado para Texto 71">
            <a:extLst>
              <a:ext uri="{FF2B5EF4-FFF2-40B4-BE49-F238E27FC236}">
                <a16:creationId xmlns:a16="http://schemas.microsoft.com/office/drawing/2014/main" id="{8C8AC95B-EBF9-F3B7-1EB5-3C37FA9CBB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03564" y="363692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b="1" dirty="0"/>
              <a:t>Pontos Fortes</a:t>
            </a:r>
            <a:endParaRPr lang="pt-BR" b="1" dirty="0">
              <a:solidFill>
                <a:srgbClr val="000000"/>
              </a:solidFill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3" name="Espaço Reservado para Texto 72">
            <a:extLst>
              <a:ext uri="{FF2B5EF4-FFF2-40B4-BE49-F238E27FC236}">
                <a16:creationId xmlns:a16="http://schemas.microsoft.com/office/drawing/2014/main" id="{5E103C23-3410-B910-2A1F-D8374D224EA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03564" y="4591324"/>
            <a:ext cx="3379424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Pontos de Melhoria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t-BR" dirty="0">
              <a:ea typeface="Open Sans"/>
              <a:cs typeface="Open Sans"/>
            </a:endParaRPr>
          </a:p>
        </p:txBody>
      </p:sp>
      <p:sp>
        <p:nvSpPr>
          <p:cNvPr id="75" name="Espaço Reservado para Texto 74">
            <a:extLst>
              <a:ext uri="{FF2B5EF4-FFF2-40B4-BE49-F238E27FC236}">
                <a16:creationId xmlns:a16="http://schemas.microsoft.com/office/drawing/2014/main" id="{B13EA161-C7A8-F3E0-152D-98043A747A5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05152" y="5356225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Próximos Passos</a:t>
            </a:r>
            <a:endParaRPr lang="en-US" dirty="0"/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6" name="Espaço Reservado para Texto 75">
            <a:extLst>
              <a:ext uri="{FF2B5EF4-FFF2-40B4-BE49-F238E27FC236}">
                <a16:creationId xmlns:a16="http://schemas.microsoft.com/office/drawing/2014/main" id="{7751743B-565D-8F41-6E38-73E30D197F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806724" y="2699206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-</a:t>
            </a: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5" name="Espaço Reservado para Texto 67">
            <a:extLst>
              <a:ext uri="{FF2B5EF4-FFF2-40B4-BE49-F238E27FC236}">
                <a16:creationId xmlns:a16="http://schemas.microsoft.com/office/drawing/2014/main" id="{41DEE773-1ADC-E7E9-5F63-E666D7CC0A72}"/>
              </a:ext>
            </a:extLst>
          </p:cNvPr>
          <p:cNvSpPr txBox="1">
            <a:spLocks/>
          </p:cNvSpPr>
          <p:nvPr/>
        </p:nvSpPr>
        <p:spPr>
          <a:xfrm>
            <a:off x="8247924" y="3653602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Arial"/>
              </a:rPr>
              <a:t>6</a:t>
            </a:r>
          </a:p>
        </p:txBody>
      </p:sp>
      <p:sp>
        <p:nvSpPr>
          <p:cNvPr id="16" name="Espaço Reservado para Texto 75">
            <a:extLst>
              <a:ext uri="{FF2B5EF4-FFF2-40B4-BE49-F238E27FC236}">
                <a16:creationId xmlns:a16="http://schemas.microsoft.com/office/drawing/2014/main" id="{EA3643E6-274E-4183-EAB3-6A5F6A4D8550}"/>
              </a:ext>
            </a:extLst>
          </p:cNvPr>
          <p:cNvSpPr txBox="1">
            <a:spLocks/>
          </p:cNvSpPr>
          <p:nvPr/>
        </p:nvSpPr>
        <p:spPr>
          <a:xfrm>
            <a:off x="8806724" y="3686671"/>
            <a:ext cx="2516187" cy="625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Arial"/>
              </a:rPr>
              <a:t>-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17" name="Espaço Reservado para Texto 67">
            <a:extLst>
              <a:ext uri="{FF2B5EF4-FFF2-40B4-BE49-F238E27FC236}">
                <a16:creationId xmlns:a16="http://schemas.microsoft.com/office/drawing/2014/main" id="{1A9882AB-55F6-1C45-FF59-34E0C47B3CA1}"/>
              </a:ext>
            </a:extLst>
          </p:cNvPr>
          <p:cNvSpPr txBox="1">
            <a:spLocks/>
          </p:cNvSpPr>
          <p:nvPr/>
        </p:nvSpPr>
        <p:spPr>
          <a:xfrm>
            <a:off x="8247924" y="4418503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 dirty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Arial"/>
              </a:rPr>
              <a:t>7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0773C6B-98D6-7669-6B25-9F82858A611C}"/>
              </a:ext>
            </a:extLst>
          </p:cNvPr>
          <p:cNvSpPr txBox="1"/>
          <p:nvPr/>
        </p:nvSpPr>
        <p:spPr>
          <a:xfrm>
            <a:off x="8693217" y="4585522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-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Open Sans"/>
              <a:cs typeface="Open San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34291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18343D-BBF7-CA72-1CA5-1A6986E820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D99DB348-8680-2B2E-0A4F-15155A9888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9DB348-8680-2B2E-0A4F-15155A988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2">
            <a:extLst>
              <a:ext uri="{FF2B5EF4-FFF2-40B4-BE49-F238E27FC236}">
                <a16:creationId xmlns:a16="http://schemas.microsoft.com/office/drawing/2014/main" id="{D4D65483-41D7-1E98-A751-22DDCAA2311A}"/>
              </a:ext>
            </a:extLst>
          </p:cNvPr>
          <p:cNvSpPr txBox="1">
            <a:spLocks/>
          </p:cNvSpPr>
          <p:nvPr/>
        </p:nvSpPr>
        <p:spPr>
          <a:xfrm>
            <a:off x="411279" y="522581"/>
            <a:ext cx="9667218" cy="8428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spc="-4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  <a:buClrTx/>
              <a:buFontTx/>
              <a:defRPr/>
            </a:pPr>
            <a:r>
              <a:rPr lang="pt-BR" sz="2400" dirty="0"/>
              <a:t>SSO | LVCC - PONTOS FORTES</a:t>
            </a:r>
          </a:p>
          <a:p>
            <a:pPr>
              <a:lnSpc>
                <a:spcPct val="150000"/>
              </a:lnSpc>
              <a:buClrTx/>
              <a:buFontTx/>
              <a:defRPr/>
            </a:pPr>
            <a:r>
              <a:rPr lang="pt-BR" sz="2400" dirty="0">
                <a:solidFill>
                  <a:srgbClr val="F4614D"/>
                </a:solidFill>
                <a:latin typeface="Montserrat"/>
              </a:rPr>
              <a:t>MÊS/ANO </a:t>
            </a:r>
          </a:p>
        </p:txBody>
      </p:sp>
      <p:sp>
        <p:nvSpPr>
          <p:cNvPr id="10" name="Espaço Reservado para Texto 61">
            <a:extLst>
              <a:ext uri="{FF2B5EF4-FFF2-40B4-BE49-F238E27FC236}">
                <a16:creationId xmlns:a16="http://schemas.microsoft.com/office/drawing/2014/main" id="{8F581AEC-7F40-D31C-A3F1-4C6C0BCE3FCE}"/>
              </a:ext>
            </a:extLst>
          </p:cNvPr>
          <p:cNvSpPr txBox="1">
            <a:spLocks/>
          </p:cNvSpPr>
          <p:nvPr/>
        </p:nvSpPr>
        <p:spPr>
          <a:xfrm>
            <a:off x="411279" y="278512"/>
            <a:ext cx="4984686" cy="3545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  <a:defRPr/>
            </a:pPr>
            <a:r>
              <a:rPr lang="pt-BR" sz="1050" b="0" dirty="0">
                <a:solidFill>
                  <a:srgbClr val="666666"/>
                </a:solidFill>
                <a:latin typeface="Open Sans (Corpo)"/>
              </a:rPr>
              <a:t>SSO| ALMAS</a:t>
            </a:r>
          </a:p>
        </p:txBody>
      </p:sp>
      <p:sp>
        <p:nvSpPr>
          <p:cNvPr id="1100" name="Retângulo 1099">
            <a:extLst>
              <a:ext uri="{FF2B5EF4-FFF2-40B4-BE49-F238E27FC236}">
                <a16:creationId xmlns:a16="http://schemas.microsoft.com/office/drawing/2014/main" id="{22CE3FC9-C944-8DE7-350D-416C9DC786CE}"/>
              </a:ext>
            </a:extLst>
          </p:cNvPr>
          <p:cNvSpPr/>
          <p:nvPr/>
        </p:nvSpPr>
        <p:spPr>
          <a:xfrm>
            <a:off x="7926443" y="1059215"/>
            <a:ext cx="1173892" cy="3061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100" b="1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70E94B95-FFCB-3CC3-E92F-DCA20660D90B}"/>
              </a:ext>
            </a:extLst>
          </p:cNvPr>
          <p:cNvSpPr/>
          <p:nvPr/>
        </p:nvSpPr>
        <p:spPr>
          <a:xfrm>
            <a:off x="6400800" y="1866321"/>
            <a:ext cx="5416062" cy="3813342"/>
          </a:xfrm>
          <a:prstGeom prst="roundRect">
            <a:avLst>
              <a:gd name="adj" fmla="val 3200"/>
            </a:avLst>
          </a:prstGeom>
          <a:noFill/>
          <a:ln w="6350">
            <a:solidFill>
              <a:srgbClr val="C44B3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B35B17C0-06C8-67D3-8125-270A075FF952}"/>
              </a:ext>
            </a:extLst>
          </p:cNvPr>
          <p:cNvSpPr/>
          <p:nvPr/>
        </p:nvSpPr>
        <p:spPr>
          <a:xfrm>
            <a:off x="6603999" y="1838986"/>
            <a:ext cx="1320800" cy="152360"/>
          </a:xfrm>
          <a:prstGeom prst="rect">
            <a:avLst/>
          </a:prstGeom>
          <a:solidFill>
            <a:srgbClr val="EFE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7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654EB07D-E058-6B62-DF3F-7BEFDA666216}"/>
              </a:ext>
            </a:extLst>
          </p:cNvPr>
          <p:cNvSpPr/>
          <p:nvPr/>
        </p:nvSpPr>
        <p:spPr>
          <a:xfrm>
            <a:off x="6660939" y="1775221"/>
            <a:ext cx="1320800" cy="2699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60960" tIns="30480" rIns="60960" bIns="3048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04815">
              <a:defRPr/>
            </a:pPr>
            <a:r>
              <a:rPr lang="pt-BR" sz="1200" b="1" dirty="0">
                <a:solidFill>
                  <a:srgbClr val="C44B38"/>
                </a:solidFill>
                <a:latin typeface="Open Sans (Corpo)"/>
              </a:rPr>
              <a:t>Comentários</a:t>
            </a:r>
            <a:endParaRPr lang="pt-BR" sz="933" dirty="0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D449A900-3C5B-0F79-E7BC-49AA681FF678}"/>
              </a:ext>
            </a:extLst>
          </p:cNvPr>
          <p:cNvSpPr txBox="1"/>
          <p:nvPr/>
        </p:nvSpPr>
        <p:spPr>
          <a:xfrm>
            <a:off x="6603999" y="2295636"/>
            <a:ext cx="497840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04815" indent="-304815">
              <a:buFont typeface="+mj-lt"/>
              <a:buAutoNum type="arabicPeriod"/>
            </a:pPr>
            <a:r>
              <a:rPr lang="pt-BR" sz="1333" dirty="0">
                <a:solidFill>
                  <a:srgbClr val="2D3D70"/>
                </a:solidFill>
              </a:rPr>
              <a:t> Neste mês </a:t>
            </a:r>
            <a:r>
              <a:rPr lang="pt-BR" sz="1333" dirty="0" err="1">
                <a:solidFill>
                  <a:srgbClr val="2D3D70"/>
                </a:solidFill>
              </a:rPr>
              <a:t>xxxxxxxxxxxxxxxxxxxxx</a:t>
            </a:r>
            <a:r>
              <a:rPr lang="pt-BR" sz="1333" dirty="0">
                <a:solidFill>
                  <a:srgbClr val="2D3D70"/>
                </a:solidFill>
              </a:rPr>
              <a:t>.</a:t>
            </a:r>
            <a:endParaRPr lang="pt-BR" sz="1333" dirty="0">
              <a:solidFill>
                <a:srgbClr val="2D3D70"/>
              </a:solidFill>
              <a:latin typeface="+mn-lt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DB804291-2D9D-BFC1-94B4-FF2DD9BD21C7}"/>
              </a:ext>
            </a:extLst>
          </p:cNvPr>
          <p:cNvSpPr/>
          <p:nvPr/>
        </p:nvSpPr>
        <p:spPr>
          <a:xfrm>
            <a:off x="279399" y="1866320"/>
            <a:ext cx="5943600" cy="381334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</p:spTree>
    <p:extLst>
      <p:ext uri="{BB962C8B-B14F-4D97-AF65-F5344CB8AC3E}">
        <p14:creationId xmlns:p14="http://schemas.microsoft.com/office/powerpoint/2010/main" val="23391681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04BB83-A352-46EB-2B77-F386D2484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6E70E84-A315-C1A9-1FE7-F58330E1D9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796504-076E-2276-784A-34C7F8AF1F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FC72EE9B-DBE6-22FD-2CE3-A5C9B9419CD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sp>
        <p:nvSpPr>
          <p:cNvPr id="61" name="Título 60">
            <a:extLst>
              <a:ext uri="{FF2B5EF4-FFF2-40B4-BE49-F238E27FC236}">
                <a16:creationId xmlns:a16="http://schemas.microsoft.com/office/drawing/2014/main" id="{5F22F563-8B82-249B-9ACA-54DF337C1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6677960" cy="1281113"/>
          </a:xfrm>
        </p:spPr>
        <p:txBody>
          <a:bodyPr vert="horz">
            <a:noAutofit/>
          </a:bodyPr>
          <a:lstStyle/>
          <a:p>
            <a:r>
              <a:rPr lang="pt-BR" sz="2000" dirty="0">
                <a:solidFill>
                  <a:srgbClr val="F4614D"/>
                </a:solidFill>
              </a:rPr>
              <a:t>GMR – Gestão de Maiores Riscos</a:t>
            </a:r>
            <a:br>
              <a:rPr lang="pt-BR" sz="2000" dirty="0">
                <a:solidFill>
                  <a:srgbClr val="FF0000"/>
                </a:solidFill>
              </a:rPr>
            </a:br>
            <a:br>
              <a:rPr lang="pt-BR" sz="800" dirty="0">
                <a:solidFill>
                  <a:srgbClr val="FF0000"/>
                </a:solidFill>
              </a:rPr>
            </a:br>
            <a:r>
              <a:rPr lang="pt-BR" sz="1800" dirty="0">
                <a:solidFill>
                  <a:srgbClr val="2D3D70"/>
                </a:solidFill>
              </a:rPr>
              <a:t>SSO | SEGURANÇA &amp; SAÚDE OCUPACIONAL</a:t>
            </a:r>
            <a:endParaRPr lang="pt-BR" sz="2000" dirty="0"/>
          </a:p>
        </p:txBody>
      </p:sp>
      <p:sp>
        <p:nvSpPr>
          <p:cNvPr id="62" name="Espaço Reservado para Texto 61">
            <a:extLst>
              <a:ext uri="{FF2B5EF4-FFF2-40B4-BE49-F238E27FC236}">
                <a16:creationId xmlns:a16="http://schemas.microsoft.com/office/drawing/2014/main" id="{959480D3-E951-B671-009F-958B3326A9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Pautas</a:t>
            </a:r>
          </a:p>
        </p:txBody>
      </p:sp>
      <p:sp>
        <p:nvSpPr>
          <p:cNvPr id="63" name="Espaço Reservado para Texto 62">
            <a:extLst>
              <a:ext uri="{FF2B5EF4-FFF2-40B4-BE49-F238E27FC236}">
                <a16:creationId xmlns:a16="http://schemas.microsoft.com/office/drawing/2014/main" id="{104F9674-479E-9365-1B83-1BBA5BBE49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6352" y="2624481"/>
            <a:ext cx="654050" cy="656199"/>
          </a:xfrm>
        </p:spPr>
        <p:txBody>
          <a:bodyPr/>
          <a:lstStyle/>
          <a:p>
            <a:r>
              <a:rPr lang="pt-BR" dirty="0"/>
              <a:t>1</a:t>
            </a:r>
          </a:p>
        </p:txBody>
      </p:sp>
      <p:sp>
        <p:nvSpPr>
          <p:cNvPr id="64" name="Espaço Reservado para Texto 63">
            <a:extLst>
              <a:ext uri="{FF2B5EF4-FFF2-40B4-BE49-F238E27FC236}">
                <a16:creationId xmlns:a16="http://schemas.microsoft.com/office/drawing/2014/main" id="{4345DC13-883E-82A9-1F2C-2B46EEBCAB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46352" y="3603859"/>
            <a:ext cx="654050" cy="656199"/>
          </a:xfrm>
        </p:spPr>
        <p:txBody>
          <a:bodyPr/>
          <a:lstStyle/>
          <a:p>
            <a:r>
              <a:rPr lang="pt-BR" dirty="0"/>
              <a:t>2</a:t>
            </a:r>
          </a:p>
        </p:txBody>
      </p:sp>
      <p:sp>
        <p:nvSpPr>
          <p:cNvPr id="65" name="Espaço Reservado para Texto 64">
            <a:extLst>
              <a:ext uri="{FF2B5EF4-FFF2-40B4-BE49-F238E27FC236}">
                <a16:creationId xmlns:a16="http://schemas.microsoft.com/office/drawing/2014/main" id="{5F47E054-A19B-6637-75AA-44CD3E8DF38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46352" y="4565200"/>
            <a:ext cx="654050" cy="656199"/>
          </a:xfrm>
        </p:spPr>
        <p:txBody>
          <a:bodyPr/>
          <a:lstStyle/>
          <a:p>
            <a:r>
              <a:rPr lang="pt-BR" dirty="0"/>
              <a:t>3</a:t>
            </a:r>
          </a:p>
        </p:txBody>
      </p:sp>
      <p:sp>
        <p:nvSpPr>
          <p:cNvPr id="67" name="Espaço Reservado para Texto 66">
            <a:extLst>
              <a:ext uri="{FF2B5EF4-FFF2-40B4-BE49-F238E27FC236}">
                <a16:creationId xmlns:a16="http://schemas.microsoft.com/office/drawing/2014/main" id="{E535B835-C0B5-4B44-9C4E-2708A16812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46352" y="5315668"/>
            <a:ext cx="654050" cy="656199"/>
          </a:xfrm>
        </p:spPr>
        <p:txBody>
          <a:bodyPr/>
          <a:lstStyle/>
          <a:p>
            <a:r>
              <a:rPr lang="pt-BR" dirty="0"/>
              <a:t>4</a:t>
            </a:r>
          </a:p>
        </p:txBody>
      </p:sp>
      <p:sp>
        <p:nvSpPr>
          <p:cNvPr id="68" name="Espaço Reservado para Texto 67">
            <a:extLst>
              <a:ext uri="{FF2B5EF4-FFF2-40B4-BE49-F238E27FC236}">
                <a16:creationId xmlns:a16="http://schemas.microsoft.com/office/drawing/2014/main" id="{FA692220-7ABD-EF6F-17ED-8A886435B8A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7924" y="2666137"/>
            <a:ext cx="654050" cy="656199"/>
          </a:xfrm>
        </p:spPr>
        <p:txBody>
          <a:bodyPr/>
          <a:lstStyle/>
          <a:p>
            <a:r>
              <a:rPr lang="pt-BR" dirty="0"/>
              <a:t>5</a:t>
            </a:r>
          </a:p>
        </p:txBody>
      </p:sp>
      <p:sp>
        <p:nvSpPr>
          <p:cNvPr id="71" name="Espaço Reservado para Texto 70">
            <a:extLst>
              <a:ext uri="{FF2B5EF4-FFF2-40B4-BE49-F238E27FC236}">
                <a16:creationId xmlns:a16="http://schemas.microsoft.com/office/drawing/2014/main" id="{D6AE5178-5AA4-C84E-2BB1-47B709047B3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03564" y="266503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>
                <a:solidFill>
                  <a:srgbClr val="000000"/>
                </a:solidFill>
                <a:ea typeface="Open Sans"/>
                <a:cs typeface="Open Sans"/>
              </a:rPr>
              <a:t>Follow-up</a:t>
            </a:r>
          </a:p>
          <a:p>
            <a:pPr>
              <a:buClrTx/>
            </a:pPr>
            <a:endParaRPr lang="pt-BR" b="1" dirty="0">
              <a:ea typeface="Open Sans"/>
              <a:cs typeface="Open Sans"/>
            </a:endParaRPr>
          </a:p>
        </p:txBody>
      </p:sp>
      <p:sp>
        <p:nvSpPr>
          <p:cNvPr id="72" name="Espaço Reservado para Texto 71">
            <a:extLst>
              <a:ext uri="{FF2B5EF4-FFF2-40B4-BE49-F238E27FC236}">
                <a16:creationId xmlns:a16="http://schemas.microsoft.com/office/drawing/2014/main" id="{AD2CEB0C-8D78-57F0-A7DB-4C525E1339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03564" y="363692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Pontos Fortes</a:t>
            </a:r>
            <a:endParaRPr lang="pt-BR" dirty="0">
              <a:solidFill>
                <a:srgbClr val="000000"/>
              </a:solidFill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3" name="Espaço Reservado para Texto 72">
            <a:extLst>
              <a:ext uri="{FF2B5EF4-FFF2-40B4-BE49-F238E27FC236}">
                <a16:creationId xmlns:a16="http://schemas.microsoft.com/office/drawing/2014/main" id="{6B64DB41-00C2-516A-69B5-E81A01A4A3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03564" y="4591324"/>
            <a:ext cx="3379424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b="1" dirty="0"/>
              <a:t>Pontos de Melhoria</a:t>
            </a:r>
            <a:endParaRPr lang="en-US" b="1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t-BR" dirty="0">
              <a:ea typeface="Open Sans"/>
              <a:cs typeface="Open Sans"/>
            </a:endParaRPr>
          </a:p>
        </p:txBody>
      </p:sp>
      <p:sp>
        <p:nvSpPr>
          <p:cNvPr id="75" name="Espaço Reservado para Texto 74">
            <a:extLst>
              <a:ext uri="{FF2B5EF4-FFF2-40B4-BE49-F238E27FC236}">
                <a16:creationId xmlns:a16="http://schemas.microsoft.com/office/drawing/2014/main" id="{B50F01B4-0DB1-5DDD-3DD2-9FB42427FF8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05152" y="5356225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Próximos Passos</a:t>
            </a:r>
            <a:endParaRPr lang="en-US" dirty="0"/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6" name="Espaço Reservado para Texto 75">
            <a:extLst>
              <a:ext uri="{FF2B5EF4-FFF2-40B4-BE49-F238E27FC236}">
                <a16:creationId xmlns:a16="http://schemas.microsoft.com/office/drawing/2014/main" id="{7C1744D7-87CA-4EFC-BB47-197A30B990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806724" y="2699206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-</a:t>
            </a: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5" name="Espaço Reservado para Texto 67">
            <a:extLst>
              <a:ext uri="{FF2B5EF4-FFF2-40B4-BE49-F238E27FC236}">
                <a16:creationId xmlns:a16="http://schemas.microsoft.com/office/drawing/2014/main" id="{6C5E8952-8937-3F21-D819-39931F010E48}"/>
              </a:ext>
            </a:extLst>
          </p:cNvPr>
          <p:cNvSpPr txBox="1">
            <a:spLocks/>
          </p:cNvSpPr>
          <p:nvPr/>
        </p:nvSpPr>
        <p:spPr>
          <a:xfrm>
            <a:off x="8247924" y="3653602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Arial"/>
              </a:rPr>
              <a:t>6</a:t>
            </a:r>
          </a:p>
        </p:txBody>
      </p:sp>
      <p:sp>
        <p:nvSpPr>
          <p:cNvPr id="16" name="Espaço Reservado para Texto 75">
            <a:extLst>
              <a:ext uri="{FF2B5EF4-FFF2-40B4-BE49-F238E27FC236}">
                <a16:creationId xmlns:a16="http://schemas.microsoft.com/office/drawing/2014/main" id="{9DA8D2FE-6B66-0BB4-756F-43D3806CD730}"/>
              </a:ext>
            </a:extLst>
          </p:cNvPr>
          <p:cNvSpPr txBox="1">
            <a:spLocks/>
          </p:cNvSpPr>
          <p:nvPr/>
        </p:nvSpPr>
        <p:spPr>
          <a:xfrm>
            <a:off x="8806724" y="3686671"/>
            <a:ext cx="2516187" cy="625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Arial"/>
              </a:rPr>
              <a:t>-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17" name="Espaço Reservado para Texto 67">
            <a:extLst>
              <a:ext uri="{FF2B5EF4-FFF2-40B4-BE49-F238E27FC236}">
                <a16:creationId xmlns:a16="http://schemas.microsoft.com/office/drawing/2014/main" id="{C983FAF5-F87B-2C3A-2A8D-804BB66C9C29}"/>
              </a:ext>
            </a:extLst>
          </p:cNvPr>
          <p:cNvSpPr txBox="1">
            <a:spLocks/>
          </p:cNvSpPr>
          <p:nvPr/>
        </p:nvSpPr>
        <p:spPr>
          <a:xfrm>
            <a:off x="8247924" y="4418503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 dirty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Arial"/>
              </a:rPr>
              <a:t>7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D2CA4DE5-B7D7-BF8F-EED4-2DA6590E88D9}"/>
              </a:ext>
            </a:extLst>
          </p:cNvPr>
          <p:cNvSpPr txBox="1"/>
          <p:nvPr/>
        </p:nvSpPr>
        <p:spPr>
          <a:xfrm>
            <a:off x="8693217" y="4585522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-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Open Sans"/>
              <a:cs typeface="Open San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19569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F11D0-29AB-96A1-6929-BE4D765BF8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B6DC9037-2C20-EC34-885A-9A6ED6C60A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9DB348-8680-2B2E-0A4F-15155A988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2">
            <a:extLst>
              <a:ext uri="{FF2B5EF4-FFF2-40B4-BE49-F238E27FC236}">
                <a16:creationId xmlns:a16="http://schemas.microsoft.com/office/drawing/2014/main" id="{3C19C28D-47D8-67EA-EE89-1E0DB1C96B8D}"/>
              </a:ext>
            </a:extLst>
          </p:cNvPr>
          <p:cNvSpPr txBox="1">
            <a:spLocks/>
          </p:cNvSpPr>
          <p:nvPr/>
        </p:nvSpPr>
        <p:spPr>
          <a:xfrm>
            <a:off x="411279" y="522581"/>
            <a:ext cx="9667218" cy="8428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spc="-4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  <a:buClrTx/>
              <a:buFontTx/>
              <a:defRPr/>
            </a:pPr>
            <a:r>
              <a:rPr lang="pt-BR" sz="2400" dirty="0"/>
              <a:t>SSO | LVCC - PONTOS DE MELHORIA</a:t>
            </a:r>
          </a:p>
          <a:p>
            <a:pPr>
              <a:lnSpc>
                <a:spcPct val="150000"/>
              </a:lnSpc>
              <a:buClrTx/>
              <a:buFontTx/>
              <a:defRPr/>
            </a:pPr>
            <a:r>
              <a:rPr lang="pt-BR" sz="2400" dirty="0">
                <a:solidFill>
                  <a:srgbClr val="F4614D"/>
                </a:solidFill>
                <a:latin typeface="Montserrat"/>
              </a:rPr>
              <a:t>MÊS/ANO </a:t>
            </a:r>
          </a:p>
        </p:txBody>
      </p:sp>
      <p:sp>
        <p:nvSpPr>
          <p:cNvPr id="10" name="Espaço Reservado para Texto 61">
            <a:extLst>
              <a:ext uri="{FF2B5EF4-FFF2-40B4-BE49-F238E27FC236}">
                <a16:creationId xmlns:a16="http://schemas.microsoft.com/office/drawing/2014/main" id="{AB43134E-01A0-D658-DAD6-2C8CFE067BA7}"/>
              </a:ext>
            </a:extLst>
          </p:cNvPr>
          <p:cNvSpPr txBox="1">
            <a:spLocks/>
          </p:cNvSpPr>
          <p:nvPr/>
        </p:nvSpPr>
        <p:spPr>
          <a:xfrm>
            <a:off x="411279" y="278512"/>
            <a:ext cx="4984686" cy="3545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7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  <a:defRPr/>
            </a:pPr>
            <a:r>
              <a:rPr lang="pt-BR" sz="1050" b="0" dirty="0">
                <a:solidFill>
                  <a:srgbClr val="666666"/>
                </a:solidFill>
                <a:latin typeface="Open Sans (Corpo)"/>
              </a:rPr>
              <a:t>SSO| ALMAS</a:t>
            </a:r>
          </a:p>
        </p:txBody>
      </p:sp>
      <p:sp>
        <p:nvSpPr>
          <p:cNvPr id="1100" name="Retângulo 1099">
            <a:extLst>
              <a:ext uri="{FF2B5EF4-FFF2-40B4-BE49-F238E27FC236}">
                <a16:creationId xmlns:a16="http://schemas.microsoft.com/office/drawing/2014/main" id="{0986D1D7-E40F-1E43-280E-72C9528B7744}"/>
              </a:ext>
            </a:extLst>
          </p:cNvPr>
          <p:cNvSpPr/>
          <p:nvPr/>
        </p:nvSpPr>
        <p:spPr>
          <a:xfrm>
            <a:off x="7926443" y="1059215"/>
            <a:ext cx="1173892" cy="3061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100" b="1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1101" name="Retângulo 1100">
            <a:extLst>
              <a:ext uri="{FF2B5EF4-FFF2-40B4-BE49-F238E27FC236}">
                <a16:creationId xmlns:a16="http://schemas.microsoft.com/office/drawing/2014/main" id="{4D5EF64F-55F7-46D8-6F8A-291170988865}"/>
              </a:ext>
            </a:extLst>
          </p:cNvPr>
          <p:cNvSpPr/>
          <p:nvPr/>
        </p:nvSpPr>
        <p:spPr>
          <a:xfrm>
            <a:off x="7859212" y="1340755"/>
            <a:ext cx="3668391" cy="5180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Aft>
                <a:spcPts val="300"/>
              </a:spcAft>
            </a:pPr>
            <a:endParaRPr lang="pt-BR" sz="900" b="1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900">
              <a:solidFill>
                <a:srgbClr val="2D3D70"/>
              </a:solidFill>
              <a:latin typeface="Open Sans"/>
              <a:ea typeface="Open Sans"/>
              <a:cs typeface="Open Sans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kumimoji="0" lang="pt-BR" sz="900" i="0" u="none" strike="noStrike" kern="1200" cap="none" spc="0" normalizeH="0" baseline="0" noProof="0">
              <a:ln>
                <a:noFill/>
              </a:ln>
              <a:solidFill>
                <a:srgbClr val="2D3D7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C785A399-9B42-E108-D020-8541BC0834A4}"/>
              </a:ext>
            </a:extLst>
          </p:cNvPr>
          <p:cNvSpPr/>
          <p:nvPr/>
        </p:nvSpPr>
        <p:spPr>
          <a:xfrm>
            <a:off x="6400800" y="2021671"/>
            <a:ext cx="5283201" cy="3544271"/>
          </a:xfrm>
          <a:prstGeom prst="roundRect">
            <a:avLst>
              <a:gd name="adj" fmla="val 3200"/>
            </a:avLst>
          </a:prstGeom>
          <a:noFill/>
          <a:ln w="6350">
            <a:solidFill>
              <a:srgbClr val="C44B3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32E98213-4E8D-5B12-A471-36FE28F7BE61}"/>
              </a:ext>
            </a:extLst>
          </p:cNvPr>
          <p:cNvSpPr/>
          <p:nvPr/>
        </p:nvSpPr>
        <p:spPr>
          <a:xfrm>
            <a:off x="6604000" y="1955840"/>
            <a:ext cx="1320800" cy="152360"/>
          </a:xfrm>
          <a:prstGeom prst="rect">
            <a:avLst/>
          </a:prstGeom>
          <a:solidFill>
            <a:srgbClr val="EFE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7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2346ECDC-B816-A22B-7D61-85F6F344DE11}"/>
              </a:ext>
            </a:extLst>
          </p:cNvPr>
          <p:cNvSpPr/>
          <p:nvPr/>
        </p:nvSpPr>
        <p:spPr>
          <a:xfrm>
            <a:off x="6603999" y="1889045"/>
            <a:ext cx="1524000" cy="2191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60960" tIns="30480" rIns="60960" bIns="3048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04815">
              <a:defRPr/>
            </a:pPr>
            <a:r>
              <a:rPr lang="pt-BR" sz="1200" b="1" dirty="0">
                <a:solidFill>
                  <a:srgbClr val="C44B38"/>
                </a:solidFill>
                <a:latin typeface="Open Sans (Corpo)"/>
              </a:rPr>
              <a:t>Solução Proposta</a:t>
            </a:r>
            <a:endParaRPr lang="pt-BR" sz="933" dirty="0">
              <a:solidFill>
                <a:srgbClr val="C44B38"/>
              </a:solidFill>
              <a:latin typeface="Open Sans (Corpo)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3ACC51A-AB4A-7429-5FBD-8E45EC2626B1}"/>
              </a:ext>
            </a:extLst>
          </p:cNvPr>
          <p:cNvSpPr txBox="1"/>
          <p:nvPr/>
        </p:nvSpPr>
        <p:spPr>
          <a:xfrm>
            <a:off x="6603999" y="2295636"/>
            <a:ext cx="497840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04815" indent="-304815">
              <a:buFont typeface="+mj-lt"/>
              <a:buAutoNum type="arabicPeriod"/>
            </a:pPr>
            <a:r>
              <a:rPr lang="pt-BR" sz="1333" dirty="0">
                <a:solidFill>
                  <a:srgbClr val="2D3D70"/>
                </a:solidFill>
              </a:rPr>
              <a:t> Neste mês </a:t>
            </a:r>
            <a:r>
              <a:rPr lang="pt-BR" sz="1333" dirty="0" err="1">
                <a:solidFill>
                  <a:srgbClr val="2D3D70"/>
                </a:solidFill>
              </a:rPr>
              <a:t>xxxxxxxxxxxxxxxxxxxxx</a:t>
            </a:r>
            <a:r>
              <a:rPr lang="pt-BR" sz="1333" dirty="0">
                <a:solidFill>
                  <a:srgbClr val="2D3D70"/>
                </a:solidFill>
              </a:rPr>
              <a:t>.</a:t>
            </a:r>
            <a:endParaRPr lang="pt-BR" sz="1333" dirty="0">
              <a:solidFill>
                <a:srgbClr val="2D3D70"/>
              </a:solidFill>
              <a:latin typeface="+mn-lt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E020A7B7-96F5-F027-D33F-EF4B319BD5B5}"/>
              </a:ext>
            </a:extLst>
          </p:cNvPr>
          <p:cNvSpPr/>
          <p:nvPr/>
        </p:nvSpPr>
        <p:spPr>
          <a:xfrm>
            <a:off x="279399" y="1866320"/>
            <a:ext cx="5943600" cy="381334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33"/>
          </a:p>
        </p:txBody>
      </p:sp>
    </p:spTree>
    <p:extLst>
      <p:ext uri="{BB962C8B-B14F-4D97-AF65-F5344CB8AC3E}">
        <p14:creationId xmlns:p14="http://schemas.microsoft.com/office/powerpoint/2010/main" val="34381682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E0CA06-FBA7-2B74-AA1D-FC85D5985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44FA745-A326-2B86-9CE2-145E337031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4" progId="TCLayout.ActiveDocument.1">
                  <p:embed/>
                </p:oleObj>
              </mc:Choice>
              <mc:Fallback>
                <p:oleObj name="Slide do think-cell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9BF97F-4024-E92B-1F83-AF4CA5DD4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23E73BEE-1180-7F5F-54F2-092FCCD9E7B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  <a:sym typeface="Arial"/>
            </a:endParaRPr>
          </a:p>
        </p:txBody>
      </p:sp>
      <p:sp>
        <p:nvSpPr>
          <p:cNvPr id="61" name="Título 60">
            <a:extLst>
              <a:ext uri="{FF2B5EF4-FFF2-40B4-BE49-F238E27FC236}">
                <a16:creationId xmlns:a16="http://schemas.microsoft.com/office/drawing/2014/main" id="{3415B00B-78F8-CA10-D7C3-3017E19450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0391" y="1668084"/>
            <a:ext cx="6677960" cy="1281113"/>
          </a:xfrm>
        </p:spPr>
        <p:txBody>
          <a:bodyPr vert="horz">
            <a:noAutofit/>
          </a:bodyPr>
          <a:lstStyle/>
          <a:p>
            <a:r>
              <a:rPr lang="pt-BR" sz="2000" dirty="0">
                <a:solidFill>
                  <a:srgbClr val="F4614D"/>
                </a:solidFill>
              </a:rPr>
              <a:t>GMR – Gestão de Maiores Riscos</a:t>
            </a:r>
            <a:br>
              <a:rPr lang="pt-BR" sz="2000" dirty="0">
                <a:solidFill>
                  <a:srgbClr val="FF0000"/>
                </a:solidFill>
              </a:rPr>
            </a:br>
            <a:br>
              <a:rPr lang="pt-BR" sz="800" dirty="0">
                <a:solidFill>
                  <a:srgbClr val="FF0000"/>
                </a:solidFill>
              </a:rPr>
            </a:br>
            <a:r>
              <a:rPr lang="pt-BR" sz="1800" dirty="0">
                <a:solidFill>
                  <a:srgbClr val="2D3D70"/>
                </a:solidFill>
              </a:rPr>
              <a:t>SSO | SEGURANÇA &amp; SAÚDE OCUPACIONAL</a:t>
            </a:r>
            <a:endParaRPr lang="pt-BR" sz="2000" dirty="0"/>
          </a:p>
        </p:txBody>
      </p:sp>
      <p:sp>
        <p:nvSpPr>
          <p:cNvPr id="62" name="Espaço Reservado para Texto 61">
            <a:extLst>
              <a:ext uri="{FF2B5EF4-FFF2-40B4-BE49-F238E27FC236}">
                <a16:creationId xmlns:a16="http://schemas.microsoft.com/office/drawing/2014/main" id="{2FB49927-42F4-B794-9014-B34781DB36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Pautas</a:t>
            </a:r>
          </a:p>
        </p:txBody>
      </p:sp>
      <p:sp>
        <p:nvSpPr>
          <p:cNvPr id="63" name="Espaço Reservado para Texto 62">
            <a:extLst>
              <a:ext uri="{FF2B5EF4-FFF2-40B4-BE49-F238E27FC236}">
                <a16:creationId xmlns:a16="http://schemas.microsoft.com/office/drawing/2014/main" id="{61E8F595-1B32-A1A1-A5CF-1E466A1511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6352" y="2624481"/>
            <a:ext cx="654050" cy="656199"/>
          </a:xfrm>
        </p:spPr>
        <p:txBody>
          <a:bodyPr/>
          <a:lstStyle/>
          <a:p>
            <a:r>
              <a:rPr lang="pt-BR" dirty="0"/>
              <a:t>1</a:t>
            </a:r>
          </a:p>
        </p:txBody>
      </p:sp>
      <p:sp>
        <p:nvSpPr>
          <p:cNvPr id="64" name="Espaço Reservado para Texto 63">
            <a:extLst>
              <a:ext uri="{FF2B5EF4-FFF2-40B4-BE49-F238E27FC236}">
                <a16:creationId xmlns:a16="http://schemas.microsoft.com/office/drawing/2014/main" id="{E513D081-8DFA-E27D-423B-3EA7C15515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46352" y="3603859"/>
            <a:ext cx="654050" cy="656199"/>
          </a:xfrm>
        </p:spPr>
        <p:txBody>
          <a:bodyPr/>
          <a:lstStyle/>
          <a:p>
            <a:r>
              <a:rPr lang="pt-BR" dirty="0"/>
              <a:t>2</a:t>
            </a:r>
          </a:p>
        </p:txBody>
      </p:sp>
      <p:sp>
        <p:nvSpPr>
          <p:cNvPr id="65" name="Espaço Reservado para Texto 64">
            <a:extLst>
              <a:ext uri="{FF2B5EF4-FFF2-40B4-BE49-F238E27FC236}">
                <a16:creationId xmlns:a16="http://schemas.microsoft.com/office/drawing/2014/main" id="{B08B8EF8-0060-0C58-A480-8A316A763C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46352" y="4565200"/>
            <a:ext cx="654050" cy="656199"/>
          </a:xfrm>
        </p:spPr>
        <p:txBody>
          <a:bodyPr/>
          <a:lstStyle/>
          <a:p>
            <a:r>
              <a:rPr lang="pt-BR" dirty="0"/>
              <a:t>3</a:t>
            </a:r>
          </a:p>
        </p:txBody>
      </p:sp>
      <p:sp>
        <p:nvSpPr>
          <p:cNvPr id="67" name="Espaço Reservado para Texto 66">
            <a:extLst>
              <a:ext uri="{FF2B5EF4-FFF2-40B4-BE49-F238E27FC236}">
                <a16:creationId xmlns:a16="http://schemas.microsoft.com/office/drawing/2014/main" id="{EC52558F-2EFD-9A7C-297B-D894028C17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46352" y="5315668"/>
            <a:ext cx="654050" cy="656199"/>
          </a:xfrm>
        </p:spPr>
        <p:txBody>
          <a:bodyPr/>
          <a:lstStyle/>
          <a:p>
            <a:r>
              <a:rPr lang="pt-BR" dirty="0"/>
              <a:t>4</a:t>
            </a:r>
          </a:p>
        </p:txBody>
      </p:sp>
      <p:sp>
        <p:nvSpPr>
          <p:cNvPr id="68" name="Espaço Reservado para Texto 67">
            <a:extLst>
              <a:ext uri="{FF2B5EF4-FFF2-40B4-BE49-F238E27FC236}">
                <a16:creationId xmlns:a16="http://schemas.microsoft.com/office/drawing/2014/main" id="{069A89A4-FC60-BBFD-5E71-1380CC0710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7924" y="2666137"/>
            <a:ext cx="654050" cy="656199"/>
          </a:xfrm>
        </p:spPr>
        <p:txBody>
          <a:bodyPr/>
          <a:lstStyle/>
          <a:p>
            <a:r>
              <a:rPr lang="pt-BR" dirty="0"/>
              <a:t>5</a:t>
            </a:r>
          </a:p>
        </p:txBody>
      </p:sp>
      <p:sp>
        <p:nvSpPr>
          <p:cNvPr id="71" name="Espaço Reservado para Texto 70">
            <a:extLst>
              <a:ext uri="{FF2B5EF4-FFF2-40B4-BE49-F238E27FC236}">
                <a16:creationId xmlns:a16="http://schemas.microsoft.com/office/drawing/2014/main" id="{2B84CBA1-09F4-534C-B805-18610348E25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03564" y="266503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>
                <a:solidFill>
                  <a:srgbClr val="000000"/>
                </a:solidFill>
                <a:ea typeface="Open Sans"/>
                <a:cs typeface="Open Sans"/>
              </a:rPr>
              <a:t>Follow-up</a:t>
            </a:r>
          </a:p>
          <a:p>
            <a:pPr>
              <a:buClrTx/>
            </a:pPr>
            <a:endParaRPr lang="pt-BR" b="1" dirty="0">
              <a:ea typeface="Open Sans"/>
              <a:cs typeface="Open Sans"/>
            </a:endParaRPr>
          </a:p>
        </p:txBody>
      </p:sp>
      <p:sp>
        <p:nvSpPr>
          <p:cNvPr id="72" name="Espaço Reservado para Texto 71">
            <a:extLst>
              <a:ext uri="{FF2B5EF4-FFF2-40B4-BE49-F238E27FC236}">
                <a16:creationId xmlns:a16="http://schemas.microsoft.com/office/drawing/2014/main" id="{5915492C-D0E1-297C-AC54-9BF79DEFEB8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03564" y="3636928"/>
            <a:ext cx="27447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Pontos Fortes</a:t>
            </a:r>
            <a:endParaRPr lang="pt-BR" dirty="0">
              <a:solidFill>
                <a:srgbClr val="000000"/>
              </a:solidFill>
            </a:endParaRPr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3" name="Espaço Reservado para Texto 72">
            <a:extLst>
              <a:ext uri="{FF2B5EF4-FFF2-40B4-BE49-F238E27FC236}">
                <a16:creationId xmlns:a16="http://schemas.microsoft.com/office/drawing/2014/main" id="{8E6AD009-0068-1E30-C7DE-14E752CBB24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03564" y="4591324"/>
            <a:ext cx="3379424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Pontos de Melhoria</a:t>
            </a:r>
            <a:endParaRPr lang="en-US" dirty="0">
              <a:solidFill>
                <a:srgbClr val="000000"/>
              </a:solidFill>
              <a:ea typeface="Open Sans"/>
              <a:cs typeface="Open Sans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t-BR" dirty="0">
              <a:ea typeface="Open Sans"/>
              <a:cs typeface="Open Sans"/>
            </a:endParaRPr>
          </a:p>
        </p:txBody>
      </p:sp>
      <p:sp>
        <p:nvSpPr>
          <p:cNvPr id="75" name="Espaço Reservado para Texto 74">
            <a:extLst>
              <a:ext uri="{FF2B5EF4-FFF2-40B4-BE49-F238E27FC236}">
                <a16:creationId xmlns:a16="http://schemas.microsoft.com/office/drawing/2014/main" id="{381632D5-2D33-6DFA-9037-AD3C2022375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05152" y="5356225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t-BR" dirty="0"/>
              <a:t>Próximos Passos</a:t>
            </a:r>
            <a:endParaRPr lang="en-US" dirty="0"/>
          </a:p>
          <a:p>
            <a:endParaRPr lang="pt-BR" dirty="0">
              <a:ea typeface="Open Sans"/>
              <a:cs typeface="Open Sans"/>
            </a:endParaRPr>
          </a:p>
        </p:txBody>
      </p:sp>
      <p:sp>
        <p:nvSpPr>
          <p:cNvPr id="76" name="Espaço Reservado para Texto 75">
            <a:extLst>
              <a:ext uri="{FF2B5EF4-FFF2-40B4-BE49-F238E27FC236}">
                <a16:creationId xmlns:a16="http://schemas.microsoft.com/office/drawing/2014/main" id="{3A01CF07-7DDA-DB7B-F5DB-9CC14EABA7E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806724" y="2699206"/>
            <a:ext cx="2516187" cy="6254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-</a:t>
            </a:r>
          </a:p>
          <a:p>
            <a:pPr>
              <a:buClrTx/>
            </a:pPr>
            <a:endParaRPr lang="en-US" dirty="0">
              <a:ea typeface="Open Sans"/>
              <a:cs typeface="Open Sans"/>
            </a:endParaRPr>
          </a:p>
        </p:txBody>
      </p:sp>
      <p:sp>
        <p:nvSpPr>
          <p:cNvPr id="15" name="Espaço Reservado para Texto 67">
            <a:extLst>
              <a:ext uri="{FF2B5EF4-FFF2-40B4-BE49-F238E27FC236}">
                <a16:creationId xmlns:a16="http://schemas.microsoft.com/office/drawing/2014/main" id="{5B460287-870A-5269-4A58-F74029EC45E9}"/>
              </a:ext>
            </a:extLst>
          </p:cNvPr>
          <p:cNvSpPr txBox="1">
            <a:spLocks/>
          </p:cNvSpPr>
          <p:nvPr/>
        </p:nvSpPr>
        <p:spPr>
          <a:xfrm>
            <a:off x="8247924" y="3653602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Arial"/>
              </a:rPr>
              <a:t>6</a:t>
            </a:r>
          </a:p>
        </p:txBody>
      </p:sp>
      <p:sp>
        <p:nvSpPr>
          <p:cNvPr id="16" name="Espaço Reservado para Texto 75">
            <a:extLst>
              <a:ext uri="{FF2B5EF4-FFF2-40B4-BE49-F238E27FC236}">
                <a16:creationId xmlns:a16="http://schemas.microsoft.com/office/drawing/2014/main" id="{F9702ADC-EB71-BFDD-5CD9-9725EB1ADF70}"/>
              </a:ext>
            </a:extLst>
          </p:cNvPr>
          <p:cNvSpPr txBox="1">
            <a:spLocks/>
          </p:cNvSpPr>
          <p:nvPr/>
        </p:nvSpPr>
        <p:spPr>
          <a:xfrm>
            <a:off x="8806724" y="3686671"/>
            <a:ext cx="2516187" cy="625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Arial"/>
              </a:rPr>
              <a:t>-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17" name="Espaço Reservado para Texto 67">
            <a:extLst>
              <a:ext uri="{FF2B5EF4-FFF2-40B4-BE49-F238E27FC236}">
                <a16:creationId xmlns:a16="http://schemas.microsoft.com/office/drawing/2014/main" id="{929913DD-98EB-1889-86C6-874060A7F266}"/>
              </a:ext>
            </a:extLst>
          </p:cNvPr>
          <p:cNvSpPr txBox="1">
            <a:spLocks/>
          </p:cNvSpPr>
          <p:nvPr/>
        </p:nvSpPr>
        <p:spPr>
          <a:xfrm>
            <a:off x="8247924" y="4418503"/>
            <a:ext cx="654050" cy="65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36000" indent="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pt-BR"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0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 dirty="0">
                <a:ln>
                  <a:noFill/>
                </a:ln>
                <a:solidFill>
                  <a:srgbClr val="2D3D70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Arial"/>
              </a:rPr>
              <a:t>7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9900360-3F9A-AA16-80CD-17FF0B619582}"/>
              </a:ext>
            </a:extLst>
          </p:cNvPr>
          <p:cNvSpPr txBox="1"/>
          <p:nvPr/>
        </p:nvSpPr>
        <p:spPr>
          <a:xfrm>
            <a:off x="8693217" y="4585522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-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Open Sans"/>
              <a:cs typeface="Open San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95866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71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1&quot;&gt;&lt;elem m_fUsage=&quot;2.39705643123446243692E+00&quot;&gt;&lt;m_msothmcolidx val=&quot;0&quot;/&gt;&lt;m_rgb r=&quot;22&quot; g=&quot;8F&quot; b=&quot;89&quot;/&gt;&lt;/elem&gt;&lt;elem m_fUsage=&quot;1.70123119466920913467E+00&quot;&gt;&lt;m_msothmcolidx val=&quot;0&quot;/&gt;&lt;m_rgb r=&quot;7F&quot; g=&quot;7F&quot; b=&quot;7F&quot;/&gt;&lt;/elem&gt;&lt;elem m_fUsage=&quot;1.49049000000000009258E+00&quot;&gt;&lt;m_msothmcolidx val=&quot;0&quot;/&gt;&lt;m_rgb r=&quot;C4&quot; g=&quot;4B&quot; b=&quot;38&quot;/&gt;&lt;/elem&gt;&lt;elem m_fUsage=&quot;8.12465034704958122269E-01&quot;&gt;&lt;m_msothmcolidx val=&quot;0&quot;/&gt;&lt;m_rgb r=&quot;23&quot; g=&quot;8F&quot; b=&quot;89&quot;/&gt;&lt;/elem&gt;&lt;elem m_fUsage=&quot;7.17076212701555304463E-01&quot;&gt;&lt;m_msothmcolidx val=&quot;0&quot;/&gt;&lt;m_rgb r=&quot;9F&quot; g=&quot;89&quot; b=&quot;71&quot;/&gt;&lt;/elem&gt;&lt;elem m_fUsage=&quot;6.61014759935940388047E-01&quot;&gt;&lt;m_msothmcolidx val=&quot;0&quot;/&gt;&lt;m_rgb r=&quot;B1&quot; g=&quot;B8&quot; b=&quot;C2&quot;/&gt;&lt;/elem&gt;&lt;elem m_fUsage=&quot;6.54603830801618435942E-01&quot;&gt;&lt;m_msothmcolidx val=&quot;0&quot;/&gt;&lt;m_rgb r=&quot;6F&quot; g=&quot;7E&quot; b=&quot;C0&quot;/&gt;&lt;/elem&gt;&lt;elem m_fUsage=&quot;4.30467215222689714160E-01&quot;&gt;&lt;m_msothmcolidx val=&quot;0&quot;/&gt;&lt;m_rgb r=&quot;C1&quot; g=&quot;C0&quot; b=&quot;BF&quot;/&gt;&lt;/elem&gt;&lt;elem m_fUsage=&quot;3.21270064918596831571E-01&quot;&gt;&lt;m_msothmcolidx val=&quot;0&quot;/&gt;&lt;m_rgb r=&quot;3C&quot; g=&quot;47&quot; b=&quot;88&quot;/&gt;&lt;/elem&gt;&lt;elem m_fUsage=&quot;2.95732331128291170419E-01&quot;&gt;&lt;m_msothmcolidx val=&quot;0&quot;/&gt;&lt;m_rgb r=&quot;D5&quot; g=&quot;62&quot; b=&quot;62&quot;/&gt;&lt;/elem&gt;&lt;elem m_fUsage=&quot;2.88573629623821881207E-01&quot;&gt;&lt;m_msothmcolidx val=&quot;0&quot;/&gt;&lt;m_rgb r=&quot;F4&quot; g=&quot;61&quot; b=&quot;4D&quot;/&gt;&lt;/elem&gt;&lt;elem m_fUsage=&quot;2.28767924549610118801E-01&quot;&gt;&lt;m_msothmcolidx val=&quot;0&quot;/&gt;&lt;m_rgb r=&quot;BE&quot; g=&quot;BD&quot; b=&quot;BB&quot;/&gt;&lt;/elem&gt;&lt;elem m_fUsage=&quot;1.11987776191529260147E-03&quot;&gt;&lt;m_msothmcolidx val=&quot;0&quot;/&gt;&lt;m_rgb r=&quot;27&quot; g=&quot;2F&quot; b=&quot;5A&quot;/&gt;&lt;/elem&gt;&lt;elem m_fUsage=&quot;7.40580164057993143483E-05&quot;&gt;&lt;m_msothmcolidx val=&quot;0&quot;/&gt;&lt;m_rgb r=&quot;F3&quot; g=&quot;F5&quot; b=&quot;FA&quot;/&gt;&lt;/elem&gt;&lt;elem m_fUsage=&quot;4.49832897852059829485E-05&quot;&gt;&lt;m_msothmcolidx val=&quot;0&quot;/&gt;&lt;m_rgb r=&quot;34&quot; g=&quot;A4&quot; b=&quot;87&quot;/&gt;&lt;/elem&gt;&lt;elem m_fUsage=&quot;7.50172357610830382765E-06&quot;&gt;&lt;m_msothmcolidx val=&quot;0&quot;/&gt;&lt;m_rgb r=&quot;F5&quot; g=&quot;E8&quot; b=&quot;E9&quot;/&gt;&lt;/elem&gt;&lt;elem m_fUsage=&quot;4.92188083828465854476E-06&quot;&gt;&lt;m_msothmcolidx val=&quot;0&quot;/&gt;&lt;m_rgb r=&quot;FF&quot; g=&quot;00&quot; b=&quot;00&quot;/&gt;&lt;/elem&gt;&lt;elem m_fUsage=&quot;2.63342737880263230900E-08&quot;&gt;&lt;m_msothmcolidx val=&quot;0&quot;/&gt;&lt;m_rgb r=&quot;E5&quot; g=&quot;D0&quot; b=&quot;B8&quot;/&gt;&lt;/elem&gt;&lt;elem m_fUsage=&quot;9.67774912024055550857E-10&quot;&gt;&lt;m_msothmcolidx val=&quot;0&quot;/&gt;&lt;m_rgb r=&quot;FF&quot; g=&quot;94&quot; b=&quot;77&quot;/&gt;&lt;/elem&gt;&lt;elem m_fUsage=&quot;1.79330645024488985952E-10&quot;&gt;&lt;m_msothmcolidx val=&quot;0&quot;/&gt;&lt;m_rgb r=&quot;7A&quot; g=&quot;7A&quot; b=&quot;7A&quot;/&gt;&lt;/elem&gt;&lt;elem m_fUsage=&quot;5.62758566123391026129E-11&quot;&gt;&lt;m_msothmcolidx val=&quot;0&quot;/&gt;&lt;m_rgb r=&quot;A8&quot; g=&quot;A8&quot; b=&quot;AA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ersonalizar design">
  <a:themeElements>
    <a:clrScheme name="Aura Minerals">
      <a:dk1>
        <a:srgbClr val="333333"/>
      </a:dk1>
      <a:lt1>
        <a:sysClr val="window" lastClr="FFFFFF"/>
      </a:lt1>
      <a:dk2>
        <a:srgbClr val="666666"/>
      </a:dk2>
      <a:lt2>
        <a:srgbClr val="E7E6E6"/>
      </a:lt2>
      <a:accent1>
        <a:srgbClr val="2D3D70"/>
      </a:accent1>
      <a:accent2>
        <a:srgbClr val="F4614D"/>
      </a:accent2>
      <a:accent3>
        <a:srgbClr val="B0B7C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ura Minerals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Personalizar design">
  <a:themeElements>
    <a:clrScheme name="Aura Minerals">
      <a:dk1>
        <a:srgbClr val="333333"/>
      </a:dk1>
      <a:lt1>
        <a:sysClr val="window" lastClr="FFFFFF"/>
      </a:lt1>
      <a:dk2>
        <a:srgbClr val="666666"/>
      </a:dk2>
      <a:lt2>
        <a:srgbClr val="E7E6E6"/>
      </a:lt2>
      <a:accent1>
        <a:srgbClr val="2D3D70"/>
      </a:accent1>
      <a:accent2>
        <a:srgbClr val="F4614D"/>
      </a:accent2>
      <a:accent3>
        <a:srgbClr val="B0B7C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ura Minerals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Personalizar design">
  <a:themeElements>
    <a:clrScheme name="Aura Minerals">
      <a:dk1>
        <a:srgbClr val="333333"/>
      </a:dk1>
      <a:lt1>
        <a:sysClr val="window" lastClr="FFFFFF"/>
      </a:lt1>
      <a:dk2>
        <a:srgbClr val="666666"/>
      </a:dk2>
      <a:lt2>
        <a:srgbClr val="E7E6E6"/>
      </a:lt2>
      <a:accent1>
        <a:srgbClr val="2D3D70"/>
      </a:accent1>
      <a:accent2>
        <a:srgbClr val="F4614D"/>
      </a:accent2>
      <a:accent3>
        <a:srgbClr val="B0B7C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ura Minerals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Personalizar design">
  <a:themeElements>
    <a:clrScheme name="Aura Minerals">
      <a:dk1>
        <a:srgbClr val="333333"/>
      </a:dk1>
      <a:lt1>
        <a:sysClr val="window" lastClr="FFFFFF"/>
      </a:lt1>
      <a:dk2>
        <a:srgbClr val="666666"/>
      </a:dk2>
      <a:lt2>
        <a:srgbClr val="E7E6E6"/>
      </a:lt2>
      <a:accent1>
        <a:srgbClr val="2D3D70"/>
      </a:accent1>
      <a:accent2>
        <a:srgbClr val="F4614D"/>
      </a:accent2>
      <a:accent3>
        <a:srgbClr val="B0B7C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ura Minerals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d671c1d-a6b6-4311-831b-8a32b5198647">
      <Terms xmlns="http://schemas.microsoft.com/office/infopath/2007/PartnerControls"/>
    </lcf76f155ced4ddcb4097134ff3c332f>
    <MediaLengthInSeconds xmlns="ed671c1d-a6b6-4311-831b-8a32b5198647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D75FD503F0E64A9089CB39E15BD937" ma:contentTypeVersion="10" ma:contentTypeDescription="Create a new document." ma:contentTypeScope="" ma:versionID="f048c61eac90416261e5a41753a079e1">
  <xsd:schema xmlns:xsd="http://www.w3.org/2001/XMLSchema" xmlns:xs="http://www.w3.org/2001/XMLSchema" xmlns:p="http://schemas.microsoft.com/office/2006/metadata/properties" xmlns:ns1="http://schemas.microsoft.com/sharepoint/v3" xmlns:ns2="ed671c1d-a6b6-4311-831b-8a32b5198647" targetNamespace="http://schemas.microsoft.com/office/2006/metadata/properties" ma:root="true" ma:fieldsID="a2e923e450a10b097cae8d405211f83b" ns1:_="" ns2:_="">
    <xsd:import namespace="http://schemas.microsoft.com/sharepoint/v3"/>
    <xsd:import namespace="ed671c1d-a6b6-4311-831b-8a32b51986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671c1d-a6b6-4311-831b-8a32b51986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97d53577-06e1-45c7-9147-bc24e59e74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195247F-6DD3-42AA-AC0D-7975F9C0FECD}">
  <ds:schemaRefs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terms/"/>
    <ds:schemaRef ds:uri="ed671c1d-a6b6-4311-831b-8a32b5198647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2532C48C-76AD-4ECA-8D02-084F38CD837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1E7DA88-EAA3-4964-8472-5EB749477A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d671c1d-a6b6-4311-831b-8a32b519864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38</TotalTime>
  <Words>232</Words>
  <Application>Microsoft Office PowerPoint</Application>
  <PresentationFormat>Widescreen</PresentationFormat>
  <Paragraphs>105</Paragraphs>
  <Slides>11</Slides>
  <Notes>1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22" baseType="lpstr">
      <vt:lpstr>Arial</vt:lpstr>
      <vt:lpstr>Benton Sans Book</vt:lpstr>
      <vt:lpstr>Calibri</vt:lpstr>
      <vt:lpstr>Montserrat</vt:lpstr>
      <vt:lpstr>Open Sans</vt:lpstr>
      <vt:lpstr>Open Sans (Corpo)</vt:lpstr>
      <vt:lpstr>Personalizar design</vt:lpstr>
      <vt:lpstr>1_Personalizar design</vt:lpstr>
      <vt:lpstr>4_Personalizar design</vt:lpstr>
      <vt:lpstr>2_Personalizar design</vt:lpstr>
      <vt:lpstr>Slide do think-cell</vt:lpstr>
      <vt:lpstr>GMR – gestão de maiores riscos</vt:lpstr>
      <vt:lpstr>Apresentação do PowerPoint</vt:lpstr>
      <vt:lpstr>GMR – Gestão de Maiores Riscos  SSO | SEGURANÇA &amp; SAÚDE OCUPACIONAL</vt:lpstr>
      <vt:lpstr>SSO | FOLLOW-UP</vt:lpstr>
      <vt:lpstr>GMR – Gestão de Maiores Riscos  SSO | SEGURANÇA &amp; SAÚDE OCUPACIONAL</vt:lpstr>
      <vt:lpstr>Apresentação do PowerPoint</vt:lpstr>
      <vt:lpstr>GMR – Gestão de Maiores Riscos  SSO | SEGURANÇA &amp; SAÚDE OCUPACIONAL</vt:lpstr>
      <vt:lpstr>Apresentação do PowerPoint</vt:lpstr>
      <vt:lpstr>GMR – Gestão de Maiores Riscos  SSO | SEGURANÇA &amp; SAÚDE OCUPACIONAL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ainan Moreira</dc:creator>
  <cp:lastModifiedBy>Ilea Nascimento Paixao</cp:lastModifiedBy>
  <cp:revision>66</cp:revision>
  <dcterms:created xsi:type="dcterms:W3CDTF">2022-02-08T08:21:46Z</dcterms:created>
  <dcterms:modified xsi:type="dcterms:W3CDTF">2026-05-16T10:5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92D75FD503F0E64A9089CB39E15BD937</vt:lpwstr>
  </property>
  <property fmtid="{D5CDD505-2E9C-101B-9397-08002B2CF9AE}" pid="4" name="Order">
    <vt:r8>405600</vt:r8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ProgID">
    <vt:lpwstr/>
  </property>
  <property fmtid="{D5CDD505-2E9C-101B-9397-08002B2CF9AE}" pid="9" name="TemplateUrl">
    <vt:lpwstr/>
  </property>
  <property fmtid="{D5CDD505-2E9C-101B-9397-08002B2CF9AE}" pid="10" name="xd_Signature">
    <vt:bool>false</vt:bool>
  </property>
  <property fmtid="{D5CDD505-2E9C-101B-9397-08002B2CF9AE}" pid="11" name="GUID">
    <vt:lpwstr>28c6cef3-e8db-4164-9610-5b341891ae13</vt:lpwstr>
  </property>
  <property fmtid="{D5CDD505-2E9C-101B-9397-08002B2CF9AE}" pid="12" name="SharedWithUsers">
    <vt:lpwstr/>
  </property>
</Properties>
</file>